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5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6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8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10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11.xml" ContentType="application/vnd.openxmlformats-officedocument.presentationml.notesSlide+xml"/>
  <Override PartName="/ppt/tags/tag131.xml" ContentType="application/vnd.openxmlformats-officedocument.presentationml.tags+xml"/>
  <Override PartName="/ppt/notesSlides/notesSlide12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3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14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4" r:id="rId5"/>
  </p:sldMasterIdLst>
  <p:notesMasterIdLst>
    <p:notesMasterId r:id="rId28"/>
  </p:notesMasterIdLst>
  <p:handoutMasterIdLst>
    <p:handoutMasterId r:id="rId29"/>
  </p:handoutMasterIdLst>
  <p:sldIdLst>
    <p:sldId id="271" r:id="rId6"/>
    <p:sldId id="371" r:id="rId7"/>
    <p:sldId id="376" r:id="rId8"/>
    <p:sldId id="286" r:id="rId9"/>
    <p:sldId id="299" r:id="rId10"/>
    <p:sldId id="377" r:id="rId11"/>
    <p:sldId id="256" r:id="rId12"/>
    <p:sldId id="367" r:id="rId13"/>
    <p:sldId id="379" r:id="rId14"/>
    <p:sldId id="380" r:id="rId15"/>
    <p:sldId id="318" r:id="rId16"/>
    <p:sldId id="368" r:id="rId17"/>
    <p:sldId id="381" r:id="rId18"/>
    <p:sldId id="336" r:id="rId19"/>
    <p:sldId id="313" r:id="rId20"/>
    <p:sldId id="383" r:id="rId21"/>
    <p:sldId id="369" r:id="rId22"/>
    <p:sldId id="310" r:id="rId23"/>
    <p:sldId id="378" r:id="rId24"/>
    <p:sldId id="293" r:id="rId25"/>
    <p:sldId id="294" r:id="rId26"/>
    <p:sldId id="296" r:id="rId27"/>
  </p:sldIdLst>
  <p:sldSz cx="12192000" cy="6858000"/>
  <p:notesSz cx="6797675" cy="9928225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D9A25DEB-D0D5-4A89-B370-02564A4E95E7}">
          <p14:sldIdLst>
            <p14:sldId id="271"/>
            <p14:sldId id="371"/>
            <p14:sldId id="376"/>
          </p14:sldIdLst>
        </p14:section>
        <p14:section name="Content / agenda slide" id="{B2D49DD4-5508-4B31-9F03-D15F56E85690}">
          <p14:sldIdLst>
            <p14:sldId id="286"/>
            <p14:sldId id="299"/>
            <p14:sldId id="377"/>
            <p14:sldId id="256"/>
            <p14:sldId id="367"/>
            <p14:sldId id="379"/>
            <p14:sldId id="380"/>
            <p14:sldId id="318"/>
            <p14:sldId id="368"/>
            <p14:sldId id="381"/>
            <p14:sldId id="336"/>
            <p14:sldId id="313"/>
            <p14:sldId id="383"/>
            <p14:sldId id="369"/>
            <p14:sldId id="310"/>
            <p14:sldId id="378"/>
            <p14:sldId id="293"/>
            <p14:sldId id="294"/>
            <p14:sldId id="296"/>
          </p14:sldIdLst>
        </p14:section>
        <p14:section name="Divider slides" id="{0585301E-2F9B-425E-920B-E8B9B7F4491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698">
          <p15:clr>
            <a:srgbClr val="A4A3A4"/>
          </p15:clr>
        </p15:guide>
        <p15:guide id="2" pos="3952">
          <p15:clr>
            <a:srgbClr val="A4A3A4"/>
          </p15:clr>
        </p15:guide>
        <p15:guide id="3" pos="7344">
          <p15:clr>
            <a:srgbClr val="A4A3A4"/>
          </p15:clr>
        </p15:guide>
        <p15:guide id="4" orient="horz" pos="3703">
          <p15:clr>
            <a:srgbClr val="A4A3A4"/>
          </p15:clr>
        </p15:guide>
        <p15:guide id="5" orient="horz" pos="2387">
          <p15:clr>
            <a:srgbClr val="A4A3A4"/>
          </p15:clr>
        </p15:guide>
        <p15:guide id="6" orient="horz" pos="2206">
          <p15:clr>
            <a:srgbClr val="A4A3A4"/>
          </p15:clr>
        </p15:guide>
        <p15:guide id="7" orient="horz" pos="889">
          <p15:clr>
            <a:srgbClr val="A4A3A4"/>
          </p15:clr>
        </p15:guide>
        <p15:guide id="8" orient="horz" pos="409">
          <p15:clr>
            <a:srgbClr val="A4A3A4"/>
          </p15:clr>
        </p15:guide>
        <p15:guide id="9" orient="horz" pos="210">
          <p15:clr>
            <a:srgbClr val="A4A3A4"/>
          </p15:clr>
        </p15:guide>
        <p15:guide id="10" pos="3942">
          <p15:clr>
            <a:srgbClr val="A4A3A4"/>
          </p15:clr>
        </p15:guide>
        <p15:guide id="11" pos="7341">
          <p15:clr>
            <a:srgbClr val="A4A3A4"/>
          </p15:clr>
        </p15:guide>
        <p15:guide id="12" pos="339">
          <p15:clr>
            <a:srgbClr val="A4A3A4"/>
          </p15:clr>
        </p15:guide>
        <p15:guide id="13" pos="3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gorski, Nicole (E CC W)" initials="SN(CW" lastIdx="9" clrIdx="0"/>
  <p:cmAuthor id="1" name="Petersen, Sanne Frimor (WP CC IC)" initials="SP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989B1"/>
    <a:srgbClr val="C02533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81BC3B-147E-380B-985B-AB2B81DEBE1B}" v="27" dt="2025-02-19T07:37:21.042"/>
    <p1510:client id="{6A83CBFA-F4ED-356C-15B9-0C8085DFE34B}" v="68" dt="2025-02-20T18:00:36.069"/>
    <p1510:client id="{70D4DA0C-6F52-2B80-5140-5A8B2C9DBA7D}" v="2" dt="2025-02-20T09:25:58.621"/>
    <p1510:client id="{84FC749A-70A6-7F91-FF00-A748866DF99D}" v="431" dt="2025-02-19T10:46:15.259"/>
    <p1510:client id="{B951FACB-3E3D-5CE4-24C1-E82078D97EE1}" v="22" dt="2025-02-20T12:05:36.093"/>
    <p1510:client id="{C6DA38DF-B068-43CD-85AE-A2F4970E4248}" v="165" dt="2025-02-20T19:30:20.1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3698"/>
        <p:guide pos="3952"/>
        <p:guide pos="7344"/>
        <p:guide orient="horz" pos="3703"/>
        <p:guide orient="horz" pos="2387"/>
        <p:guide orient="horz" pos="2206"/>
        <p:guide orient="horz" pos="889"/>
        <p:guide orient="horz" pos="409"/>
        <p:guide orient="horz" pos="210"/>
        <p:guide pos="3942"/>
        <p:guide pos="7341"/>
        <p:guide pos="339"/>
        <p:guide pos="37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36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stenholz, Vibeke Lund (SGRE COG P OF TP)" userId="S::vibeke.westenholz@siemensgamesa.com::be2c167c-cc21-4c23-92b1-78ba209712f0" providerId="AD" clId="Web-{3F7DA618-F2FD-3752-8F8E-8002EBA5C971}"/>
    <pc:docChg chg="modSld">
      <pc:chgData name="Westenholz, Vibeke Lund (SGRE COG P OF TP)" userId="S::vibeke.westenholz@siemensgamesa.com::be2c167c-cc21-4c23-92b1-78ba209712f0" providerId="AD" clId="Web-{3F7DA618-F2FD-3752-8F8E-8002EBA5C971}" dt="2022-02-22T10:36:17.882" v="22" actId="20577"/>
      <pc:docMkLst>
        <pc:docMk/>
      </pc:docMkLst>
      <pc:sldChg chg="addSp delSp modSp">
        <pc:chgData name="Westenholz, Vibeke Lund (SGRE COG P OF TP)" userId="S::vibeke.westenholz@siemensgamesa.com::be2c167c-cc21-4c23-92b1-78ba209712f0" providerId="AD" clId="Web-{3F7DA618-F2FD-3752-8F8E-8002EBA5C971}" dt="2022-02-22T10:36:17.882" v="22" actId="20577"/>
        <pc:sldMkLst>
          <pc:docMk/>
          <pc:sldMk cId="4087205575" sldId="323"/>
        </pc:sldMkLst>
      </pc:sldChg>
    </pc:docChg>
  </pc:docChgLst>
  <pc:docChgLst>
    <pc:chgData name="Wiliemsborg, Maylenah Carmen Lotuz" userId="S::maylenah.wiliemsborg@siemensgamesa.com::3f6d14cb-a5b7-4102-aa78-45e79909dc5b" providerId="AD" clId="Web-{70D4DA0C-6F52-2B80-5140-5A8B2C9DBA7D}"/>
    <pc:docChg chg="modSld">
      <pc:chgData name="Wiliemsborg, Maylenah Carmen Lotuz" userId="S::maylenah.wiliemsborg@siemensgamesa.com::3f6d14cb-a5b7-4102-aa78-45e79909dc5b" providerId="AD" clId="Web-{70D4DA0C-6F52-2B80-5140-5A8B2C9DBA7D}" dt="2025-02-20T09:25:56.230" v="0" actId="20577"/>
      <pc:docMkLst>
        <pc:docMk/>
      </pc:docMkLst>
      <pc:sldChg chg="modSp">
        <pc:chgData name="Wiliemsborg, Maylenah Carmen Lotuz" userId="S::maylenah.wiliemsborg@siemensgamesa.com::3f6d14cb-a5b7-4102-aa78-45e79909dc5b" providerId="AD" clId="Web-{70D4DA0C-6F52-2B80-5140-5A8B2C9DBA7D}" dt="2025-02-20T09:25:56.230" v="0" actId="20577"/>
        <pc:sldMkLst>
          <pc:docMk/>
          <pc:sldMk cId="4184456199" sldId="367"/>
        </pc:sldMkLst>
        <pc:spChg chg="mod">
          <ac:chgData name="Wiliemsborg, Maylenah Carmen Lotuz" userId="S::maylenah.wiliemsborg@siemensgamesa.com::3f6d14cb-a5b7-4102-aa78-45e79909dc5b" providerId="AD" clId="Web-{70D4DA0C-6F52-2B80-5140-5A8B2C9DBA7D}" dt="2025-02-20T09:25:56.230" v="0" actId="20577"/>
          <ac:spMkLst>
            <pc:docMk/>
            <pc:sldMk cId="4184456199" sldId="367"/>
            <ac:spMk id="21" creationId="{123F96DC-1532-F13E-5F02-FDA00F553A84}"/>
          </ac:spMkLst>
        </pc:spChg>
      </pc:sldChg>
    </pc:docChg>
  </pc:docChgLst>
  <pc:docChgLst>
    <pc:chgData name="Schadwinkel, Tabea (SGRE ON NE&amp;ME PM PM-PD2)" userId="34305b5f-5da0-45ec-9d22-513723642f31" providerId="ADAL" clId="{A8CAF6CE-22A7-475F-9828-7DE66B44BDFD}"/>
    <pc:docChg chg="undo custSel addSld modSld modSection">
      <pc:chgData name="Schadwinkel, Tabea (SGRE ON NE&amp;ME PM PM-PD2)" userId="34305b5f-5da0-45ec-9d22-513723642f31" providerId="ADAL" clId="{A8CAF6CE-22A7-475F-9828-7DE66B44BDFD}" dt="2024-02-02T13:53:25.917" v="743" actId="20577"/>
      <pc:docMkLst>
        <pc:docMk/>
      </pc:docMkLst>
      <pc:sldChg chg="delSp mod">
        <pc:chgData name="Schadwinkel, Tabea (SGRE ON NE&amp;ME PM PM-PD2)" userId="34305b5f-5da0-45ec-9d22-513723642f31" providerId="ADAL" clId="{A8CAF6CE-22A7-475F-9828-7DE66B44BDFD}" dt="2024-02-02T13:39:25.520" v="409" actId="478"/>
        <pc:sldMkLst>
          <pc:docMk/>
          <pc:sldMk cId="1286349833" sldId="292"/>
        </pc:sldMkLst>
      </pc:sldChg>
      <pc:sldChg chg="modSp mod">
        <pc:chgData name="Schadwinkel, Tabea (SGRE ON NE&amp;ME PM PM-PD2)" userId="34305b5f-5da0-45ec-9d22-513723642f31" providerId="ADAL" clId="{A8CAF6CE-22A7-475F-9828-7DE66B44BDFD}" dt="2024-02-02T13:52:53.346" v="699" actId="13926"/>
        <pc:sldMkLst>
          <pc:docMk/>
          <pc:sldMk cId="1840042121" sldId="293"/>
        </pc:sldMkLst>
      </pc:sldChg>
      <pc:sldChg chg="delSp modSp mod">
        <pc:chgData name="Schadwinkel, Tabea (SGRE ON NE&amp;ME PM PM-PD2)" userId="34305b5f-5da0-45ec-9d22-513723642f31" providerId="ADAL" clId="{A8CAF6CE-22A7-475F-9828-7DE66B44BDFD}" dt="2024-02-02T13:53:25.917" v="743" actId="20577"/>
        <pc:sldMkLst>
          <pc:docMk/>
          <pc:sldMk cId="2483631185" sldId="294"/>
        </pc:sldMkLst>
      </pc:sldChg>
      <pc:sldChg chg="addSp delSp modSp mod">
        <pc:chgData name="Schadwinkel, Tabea (SGRE ON NE&amp;ME PM PM-PD2)" userId="34305b5f-5da0-45ec-9d22-513723642f31" providerId="ADAL" clId="{A8CAF6CE-22A7-475F-9828-7DE66B44BDFD}" dt="2024-02-02T13:46:07.548" v="527" actId="688"/>
        <pc:sldMkLst>
          <pc:docMk/>
          <pc:sldMk cId="1468755633" sldId="299"/>
        </pc:sldMkLst>
      </pc:sldChg>
      <pc:sldChg chg="delSp modSp mod">
        <pc:chgData name="Schadwinkel, Tabea (SGRE ON NE&amp;ME PM PM-PD2)" userId="34305b5f-5da0-45ec-9d22-513723642f31" providerId="ADAL" clId="{A8CAF6CE-22A7-475F-9828-7DE66B44BDFD}" dt="2024-02-02T13:40:56.349" v="427"/>
        <pc:sldMkLst>
          <pc:docMk/>
          <pc:sldMk cId="284083800" sldId="310"/>
        </pc:sldMkLst>
      </pc:sldChg>
      <pc:sldChg chg="addSp delSp modSp mod chgLayout modNotesTx">
        <pc:chgData name="Schadwinkel, Tabea (SGRE ON NE&amp;ME PM PM-PD2)" userId="34305b5f-5da0-45ec-9d22-513723642f31" providerId="ADAL" clId="{A8CAF6CE-22A7-475F-9828-7DE66B44BDFD}" dt="2024-02-02T13:42:31.441" v="459" actId="20577"/>
        <pc:sldMkLst>
          <pc:docMk/>
          <pc:sldMk cId="3672746191" sldId="313"/>
        </pc:sldMkLst>
      </pc:sldChg>
      <pc:sldChg chg="addSp delSp modSp mod modNotesTx">
        <pc:chgData name="Schadwinkel, Tabea (SGRE ON NE&amp;ME PM PM-PD2)" userId="34305b5f-5da0-45ec-9d22-513723642f31" providerId="ADAL" clId="{A8CAF6CE-22A7-475F-9828-7DE66B44BDFD}" dt="2024-02-02T13:42:42.258" v="463" actId="20577"/>
        <pc:sldMkLst>
          <pc:docMk/>
          <pc:sldMk cId="1209066160" sldId="314"/>
        </pc:sldMkLst>
      </pc:sldChg>
      <pc:sldChg chg="modSp mod">
        <pc:chgData name="Schadwinkel, Tabea (SGRE ON NE&amp;ME PM PM-PD2)" userId="34305b5f-5da0-45ec-9d22-513723642f31" providerId="ADAL" clId="{A8CAF6CE-22A7-475F-9828-7DE66B44BDFD}" dt="2024-02-02T13:48:38.133" v="628" actId="14100"/>
        <pc:sldMkLst>
          <pc:docMk/>
          <pc:sldMk cId="577488301" sldId="318"/>
        </pc:sldMkLst>
      </pc:sldChg>
      <pc:sldChg chg="delSp modSp mod modNotesTx">
        <pc:chgData name="Schadwinkel, Tabea (SGRE ON NE&amp;ME PM PM-PD2)" userId="34305b5f-5da0-45ec-9d22-513723642f31" providerId="ADAL" clId="{A8CAF6CE-22A7-475F-9828-7DE66B44BDFD}" dt="2024-02-02T13:43:13.237" v="476" actId="478"/>
        <pc:sldMkLst>
          <pc:docMk/>
          <pc:sldMk cId="3047106097" sldId="335"/>
        </pc:sldMkLst>
      </pc:sldChg>
      <pc:sldChg chg="addSp delSp modSp mod modNotesTx">
        <pc:chgData name="Schadwinkel, Tabea (SGRE ON NE&amp;ME PM PM-PD2)" userId="34305b5f-5da0-45ec-9d22-513723642f31" providerId="ADAL" clId="{A8CAF6CE-22A7-475F-9828-7DE66B44BDFD}" dt="2024-02-02T13:42:20.359" v="452" actId="478"/>
        <pc:sldMkLst>
          <pc:docMk/>
          <pc:sldMk cId="995067089" sldId="336"/>
        </pc:sldMkLst>
      </pc:sldChg>
      <pc:sldChg chg="modSp mod">
        <pc:chgData name="Schadwinkel, Tabea (SGRE ON NE&amp;ME PM PM-PD2)" userId="34305b5f-5da0-45ec-9d22-513723642f31" providerId="ADAL" clId="{A8CAF6CE-22A7-475F-9828-7DE66B44BDFD}" dt="2024-02-02T13:47:48.961" v="625" actId="6549"/>
        <pc:sldMkLst>
          <pc:docMk/>
          <pc:sldMk cId="1211001049" sldId="345"/>
        </pc:sldMkLst>
      </pc:sldChg>
      <pc:sldChg chg="delSp modSp mod modNotesTx">
        <pc:chgData name="Schadwinkel, Tabea (SGRE ON NE&amp;ME PM PM-PD2)" userId="34305b5f-5da0-45ec-9d22-513723642f31" providerId="ADAL" clId="{A8CAF6CE-22A7-475F-9828-7DE66B44BDFD}" dt="2024-02-02T13:43:54.048" v="492" actId="115"/>
        <pc:sldMkLst>
          <pc:docMk/>
          <pc:sldMk cId="1587693403" sldId="349"/>
        </pc:sldMkLst>
      </pc:sldChg>
      <pc:sldChg chg="modSp mod">
        <pc:chgData name="Schadwinkel, Tabea (SGRE ON NE&amp;ME PM PM-PD2)" userId="34305b5f-5da0-45ec-9d22-513723642f31" providerId="ADAL" clId="{A8CAF6CE-22A7-475F-9828-7DE66B44BDFD}" dt="2024-02-02T13:09:40.036" v="232" actId="20577"/>
        <pc:sldMkLst>
          <pc:docMk/>
          <pc:sldMk cId="176201174" sldId="366"/>
        </pc:sldMkLst>
      </pc:sldChg>
      <pc:sldChg chg="modSp mod">
        <pc:chgData name="Schadwinkel, Tabea (SGRE ON NE&amp;ME PM PM-PD2)" userId="34305b5f-5da0-45ec-9d22-513723642f31" providerId="ADAL" clId="{A8CAF6CE-22A7-475F-9828-7DE66B44BDFD}" dt="2024-02-02T13:10:07.277" v="277" actId="20577"/>
        <pc:sldMkLst>
          <pc:docMk/>
          <pc:sldMk cId="3627570454" sldId="368"/>
        </pc:sldMkLst>
      </pc:sldChg>
      <pc:sldChg chg="addSp delSp modSp mod modClrScheme chgLayout">
        <pc:chgData name="Schadwinkel, Tabea (SGRE ON NE&amp;ME PM PM-PD2)" userId="34305b5f-5da0-45ec-9d22-513723642f31" providerId="ADAL" clId="{A8CAF6CE-22A7-475F-9828-7DE66B44BDFD}" dt="2024-02-02T13:13:12.382" v="290"/>
        <pc:sldMkLst>
          <pc:docMk/>
          <pc:sldMk cId="2318221535" sldId="370"/>
        </pc:sldMkLst>
      </pc:sldChg>
      <pc:sldChg chg="addSp modSp mod">
        <pc:chgData name="Schadwinkel, Tabea (SGRE ON NE&amp;ME PM PM-PD2)" userId="34305b5f-5da0-45ec-9d22-513723642f31" providerId="ADAL" clId="{A8CAF6CE-22A7-475F-9828-7DE66B44BDFD}" dt="2024-02-02T13:19:11.303" v="357" actId="1440"/>
        <pc:sldMkLst>
          <pc:docMk/>
          <pc:sldMk cId="1005772816" sldId="371"/>
        </pc:sldMkLst>
      </pc:sldChg>
      <pc:sldChg chg="modSp mod">
        <pc:chgData name="Schadwinkel, Tabea (SGRE ON NE&amp;ME PM PM-PD2)" userId="34305b5f-5da0-45ec-9d22-513723642f31" providerId="ADAL" clId="{A8CAF6CE-22A7-475F-9828-7DE66B44BDFD}" dt="2024-02-02T13:49:00.040" v="676" actId="20577"/>
        <pc:sldMkLst>
          <pc:docMk/>
          <pc:sldMk cId="2784978758" sldId="372"/>
        </pc:sldMkLst>
      </pc:sldChg>
      <pc:sldChg chg="addSp modSp mod">
        <pc:chgData name="Schadwinkel, Tabea (SGRE ON NE&amp;ME PM PM-PD2)" userId="34305b5f-5da0-45ec-9d22-513723642f31" providerId="ADAL" clId="{A8CAF6CE-22A7-475F-9828-7DE66B44BDFD}" dt="2024-02-02T13:49:22.767" v="692" actId="20577"/>
        <pc:sldMkLst>
          <pc:docMk/>
          <pc:sldMk cId="1262969020" sldId="373"/>
        </pc:sldMkLst>
      </pc:sldChg>
      <pc:sldChg chg="addSp delSp modSp mod">
        <pc:chgData name="Schadwinkel, Tabea (SGRE ON NE&amp;ME PM PM-PD2)" userId="34305b5f-5da0-45ec-9d22-513723642f31" providerId="ADAL" clId="{A8CAF6CE-22A7-475F-9828-7DE66B44BDFD}" dt="2024-02-02T13:52:41.026" v="698" actId="1076"/>
        <pc:sldMkLst>
          <pc:docMk/>
          <pc:sldMk cId="2038266353" sldId="375"/>
        </pc:sldMkLst>
      </pc:sldChg>
      <pc:sldChg chg="mod modShow">
        <pc:chgData name="Schadwinkel, Tabea (SGRE ON NE&amp;ME PM PM-PD2)" userId="34305b5f-5da0-45ec-9d22-513723642f31" providerId="ADAL" clId="{A8CAF6CE-22A7-475F-9828-7DE66B44BDFD}" dt="2024-02-02T13:41:35.495" v="444" actId="729"/>
        <pc:sldMkLst>
          <pc:docMk/>
          <pc:sldMk cId="907111057" sldId="378"/>
        </pc:sldMkLst>
      </pc:sldChg>
      <pc:sldChg chg="delSp mod modNotesTx">
        <pc:chgData name="Schadwinkel, Tabea (SGRE ON NE&amp;ME PM PM-PD2)" userId="34305b5f-5da0-45ec-9d22-513723642f31" providerId="ADAL" clId="{A8CAF6CE-22A7-475F-9828-7DE66B44BDFD}" dt="2024-02-02T13:43:03.616" v="469" actId="478"/>
        <pc:sldMkLst>
          <pc:docMk/>
          <pc:sldMk cId="192227631" sldId="379"/>
        </pc:sldMkLst>
      </pc:sldChg>
      <pc:sldChg chg="modSp add mod modShow">
        <pc:chgData name="Schadwinkel, Tabea (SGRE ON NE&amp;ME PM PM-PD2)" userId="34305b5f-5da0-45ec-9d22-513723642f31" providerId="ADAL" clId="{A8CAF6CE-22A7-475F-9828-7DE66B44BDFD}" dt="2024-02-02T13:41:37.414" v="445" actId="729"/>
        <pc:sldMkLst>
          <pc:docMk/>
          <pc:sldMk cId="3833803168" sldId="380"/>
        </pc:sldMkLst>
      </pc:sldChg>
      <pc:sldChg chg="modSp add mod modShow">
        <pc:chgData name="Schadwinkel, Tabea (SGRE ON NE&amp;ME PM PM-PD2)" userId="34305b5f-5da0-45ec-9d22-513723642f31" providerId="ADAL" clId="{A8CAF6CE-22A7-475F-9828-7DE66B44BDFD}" dt="2024-02-02T13:41:39.235" v="446" actId="729"/>
        <pc:sldMkLst>
          <pc:docMk/>
          <pc:sldMk cId="1178340025" sldId="381"/>
        </pc:sldMkLst>
      </pc:sldChg>
    </pc:docChg>
  </pc:docChgLst>
  <pc:docChgLst>
    <pc:chgData name="Lund, Vibeke (SGRE COG P&amp;LOG NE&amp;ME)" userId="be2c167c-cc21-4c23-92b1-78ba209712f0" providerId="ADAL" clId="{13C49F86-B934-474C-9690-776BD9B9DA05}"/>
    <pc:docChg chg="custSel addSld delSld modSld sldOrd modSection">
      <pc:chgData name="Lund, Vibeke (SGRE COG P&amp;LOG NE&amp;ME)" userId="be2c167c-cc21-4c23-92b1-78ba209712f0" providerId="ADAL" clId="{13C49F86-B934-474C-9690-776BD9B9DA05}" dt="2024-02-20T10:05:15.209" v="309" actId="2696"/>
      <pc:docMkLst>
        <pc:docMk/>
      </pc:docMkLst>
      <pc:sldChg chg="modSp mod">
        <pc:chgData name="Lund, Vibeke (SGRE COG P&amp;LOG NE&amp;ME)" userId="be2c167c-cc21-4c23-92b1-78ba209712f0" providerId="ADAL" clId="{13C49F86-B934-474C-9690-776BD9B9DA05}" dt="2024-02-07T08:50:26.964" v="50" actId="20577"/>
        <pc:sldMkLst>
          <pc:docMk/>
          <pc:sldMk cId="1109116256" sldId="257"/>
        </pc:sldMkLst>
      </pc:sldChg>
      <pc:sldChg chg="modSp mod">
        <pc:chgData name="Lund, Vibeke (SGRE COG P&amp;LOG NE&amp;ME)" userId="be2c167c-cc21-4c23-92b1-78ba209712f0" providerId="ADAL" clId="{13C49F86-B934-474C-9690-776BD9B9DA05}" dt="2024-02-14T06:45:38.675" v="239" actId="207"/>
        <pc:sldMkLst>
          <pc:docMk/>
          <pc:sldMk cId="3526056995" sldId="261"/>
        </pc:sldMkLst>
      </pc:sldChg>
      <pc:sldChg chg="delSp modSp mod">
        <pc:chgData name="Lund, Vibeke (SGRE COG P&amp;LOG NE&amp;ME)" userId="be2c167c-cc21-4c23-92b1-78ba209712f0" providerId="ADAL" clId="{13C49F86-B934-474C-9690-776BD9B9DA05}" dt="2024-02-20T07:51:29.169" v="307" actId="1076"/>
        <pc:sldMkLst>
          <pc:docMk/>
          <pc:sldMk cId="1468755633" sldId="299"/>
        </pc:sldMkLst>
      </pc:sldChg>
      <pc:sldChg chg="delSp modSp mod">
        <pc:chgData name="Lund, Vibeke (SGRE COG P&amp;LOG NE&amp;ME)" userId="be2c167c-cc21-4c23-92b1-78ba209712f0" providerId="ADAL" clId="{13C49F86-B934-474C-9690-776BD9B9DA05}" dt="2024-02-07T09:44:00.578" v="173" actId="20577"/>
        <pc:sldMkLst>
          <pc:docMk/>
          <pc:sldMk cId="4087205575" sldId="323"/>
        </pc:sldMkLst>
      </pc:sldChg>
      <pc:sldChg chg="modSp mod">
        <pc:chgData name="Lund, Vibeke (SGRE COG P&amp;LOG NE&amp;ME)" userId="be2c167c-cc21-4c23-92b1-78ba209712f0" providerId="ADAL" clId="{13C49F86-B934-474C-9690-776BD9B9DA05}" dt="2024-02-07T09:20:28.043" v="131" actId="20577"/>
        <pc:sldMkLst>
          <pc:docMk/>
          <pc:sldMk cId="1211001049" sldId="345"/>
        </pc:sldMkLst>
      </pc:sldChg>
      <pc:sldChg chg="ord">
        <pc:chgData name="Lund, Vibeke (SGRE COG P&amp;LOG NE&amp;ME)" userId="be2c167c-cc21-4c23-92b1-78ba209712f0" providerId="ADAL" clId="{13C49F86-B934-474C-9690-776BD9B9DA05}" dt="2024-02-07T08:49:51.894" v="0" actId="20578"/>
        <pc:sldMkLst>
          <pc:docMk/>
          <pc:sldMk cId="2987051269" sldId="348"/>
        </pc:sldMkLst>
      </pc:sldChg>
      <pc:sldChg chg="modSp mod">
        <pc:chgData name="Lund, Vibeke (SGRE COG P&amp;LOG NE&amp;ME)" userId="be2c167c-cc21-4c23-92b1-78ba209712f0" providerId="ADAL" clId="{13C49F86-B934-474C-9690-776BD9B9DA05}" dt="2024-02-14T06:38:52.757" v="182" actId="20577"/>
        <pc:sldMkLst>
          <pc:docMk/>
          <pc:sldMk cId="1405606700" sldId="365"/>
        </pc:sldMkLst>
      </pc:sldChg>
      <pc:sldChg chg="modSp mod">
        <pc:chgData name="Lund, Vibeke (SGRE COG P&amp;LOG NE&amp;ME)" userId="be2c167c-cc21-4c23-92b1-78ba209712f0" providerId="ADAL" clId="{13C49F86-B934-474C-9690-776BD9B9DA05}" dt="2024-02-14T06:39:12.397" v="186" actId="20577"/>
        <pc:sldMkLst>
          <pc:docMk/>
          <pc:sldMk cId="176201174" sldId="366"/>
        </pc:sldMkLst>
      </pc:sldChg>
      <pc:sldChg chg="modSp mod">
        <pc:chgData name="Lund, Vibeke (SGRE COG P&amp;LOG NE&amp;ME)" userId="be2c167c-cc21-4c23-92b1-78ba209712f0" providerId="ADAL" clId="{13C49F86-B934-474C-9690-776BD9B9DA05}" dt="2024-02-14T06:39:07.302" v="184" actId="20577"/>
        <pc:sldMkLst>
          <pc:docMk/>
          <pc:sldMk cId="325778309" sldId="367"/>
        </pc:sldMkLst>
      </pc:sldChg>
      <pc:sldChg chg="modSp mod">
        <pc:chgData name="Lund, Vibeke (SGRE COG P&amp;LOG NE&amp;ME)" userId="be2c167c-cc21-4c23-92b1-78ba209712f0" providerId="ADAL" clId="{13C49F86-B934-474C-9690-776BD9B9DA05}" dt="2024-02-14T06:39:24.659" v="192" actId="20577"/>
        <pc:sldMkLst>
          <pc:docMk/>
          <pc:sldMk cId="3627570454" sldId="368"/>
        </pc:sldMkLst>
      </pc:sldChg>
      <pc:sldChg chg="modSp mod">
        <pc:chgData name="Lund, Vibeke (SGRE COG P&amp;LOG NE&amp;ME)" userId="be2c167c-cc21-4c23-92b1-78ba209712f0" providerId="ADAL" clId="{13C49F86-B934-474C-9690-776BD9B9DA05}" dt="2024-02-14T06:39:40.519" v="200" actId="20577"/>
        <pc:sldMkLst>
          <pc:docMk/>
          <pc:sldMk cId="2318221535" sldId="370"/>
        </pc:sldMkLst>
      </pc:sldChg>
      <pc:sldChg chg="modSp mod">
        <pc:chgData name="Lund, Vibeke (SGRE COG P&amp;LOG NE&amp;ME)" userId="be2c167c-cc21-4c23-92b1-78ba209712f0" providerId="ADAL" clId="{13C49F86-B934-474C-9690-776BD9B9DA05}" dt="2024-02-14T06:39:44.909" v="202" actId="20577"/>
        <pc:sldMkLst>
          <pc:docMk/>
          <pc:sldMk cId="1005772816" sldId="371"/>
        </pc:sldMkLst>
      </pc:sldChg>
      <pc:sldChg chg="modSp mod">
        <pc:chgData name="Lund, Vibeke (SGRE COG P&amp;LOG NE&amp;ME)" userId="be2c167c-cc21-4c23-92b1-78ba209712f0" providerId="ADAL" clId="{13C49F86-B934-474C-9690-776BD9B9DA05}" dt="2024-02-14T06:40:00.684" v="208" actId="20577"/>
        <pc:sldMkLst>
          <pc:docMk/>
          <pc:sldMk cId="2784978758" sldId="372"/>
        </pc:sldMkLst>
      </pc:sldChg>
      <pc:sldChg chg="modSp mod">
        <pc:chgData name="Lund, Vibeke (SGRE COG P&amp;LOG NE&amp;ME)" userId="be2c167c-cc21-4c23-92b1-78ba209712f0" providerId="ADAL" clId="{13C49F86-B934-474C-9690-776BD9B9DA05}" dt="2024-02-14T06:40:13.863" v="214" actId="20577"/>
        <pc:sldMkLst>
          <pc:docMk/>
          <pc:sldMk cId="1262969020" sldId="373"/>
        </pc:sldMkLst>
      </pc:sldChg>
      <pc:sldChg chg="modSp mod">
        <pc:chgData name="Lund, Vibeke (SGRE COG P&amp;LOG NE&amp;ME)" userId="be2c167c-cc21-4c23-92b1-78ba209712f0" providerId="ADAL" clId="{13C49F86-B934-474C-9690-776BD9B9DA05}" dt="2024-02-14T06:40:26.966" v="220" actId="20577"/>
        <pc:sldMkLst>
          <pc:docMk/>
          <pc:sldMk cId="3428660079" sldId="374"/>
        </pc:sldMkLst>
      </pc:sldChg>
      <pc:sldChg chg="modSp mod">
        <pc:chgData name="Lund, Vibeke (SGRE COG P&amp;LOG NE&amp;ME)" userId="be2c167c-cc21-4c23-92b1-78ba209712f0" providerId="ADAL" clId="{13C49F86-B934-474C-9690-776BD9B9DA05}" dt="2024-02-14T06:40:43.097" v="226" actId="20577"/>
        <pc:sldMkLst>
          <pc:docMk/>
          <pc:sldMk cId="2038266353" sldId="375"/>
        </pc:sldMkLst>
      </pc:sldChg>
      <pc:sldChg chg="modSp mod">
        <pc:chgData name="Lund, Vibeke (SGRE COG P&amp;LOG NE&amp;ME)" userId="be2c167c-cc21-4c23-92b1-78ba209712f0" providerId="ADAL" clId="{13C49F86-B934-474C-9690-776BD9B9DA05}" dt="2024-02-14T06:40:55.671" v="232" actId="20577"/>
        <pc:sldMkLst>
          <pc:docMk/>
          <pc:sldMk cId="1916258096" sldId="376"/>
        </pc:sldMkLst>
      </pc:sldChg>
      <pc:sldChg chg="modSp mod">
        <pc:chgData name="Lund, Vibeke (SGRE COG P&amp;LOG NE&amp;ME)" userId="be2c167c-cc21-4c23-92b1-78ba209712f0" providerId="ADAL" clId="{13C49F86-B934-474C-9690-776BD9B9DA05}" dt="2024-02-14T06:42:13.514" v="238" actId="20577"/>
        <pc:sldMkLst>
          <pc:docMk/>
          <pc:sldMk cId="3321121259" sldId="377"/>
        </pc:sldMkLst>
      </pc:sldChg>
      <pc:sldChg chg="addSp delSp modSp mod">
        <pc:chgData name="Lund, Vibeke (SGRE COG P&amp;LOG NE&amp;ME)" userId="be2c167c-cc21-4c23-92b1-78ba209712f0" providerId="ADAL" clId="{13C49F86-B934-474C-9690-776BD9B9DA05}" dt="2024-02-14T13:10:38.387" v="282" actId="14100"/>
        <pc:sldMkLst>
          <pc:docMk/>
          <pc:sldMk cId="3833803168" sldId="380"/>
        </pc:sldMkLst>
      </pc:sldChg>
      <pc:sldChg chg="del">
        <pc:chgData name="Lund, Vibeke (SGRE COG P&amp;LOG NE&amp;ME)" userId="be2c167c-cc21-4c23-92b1-78ba209712f0" providerId="ADAL" clId="{13C49F86-B934-474C-9690-776BD9B9DA05}" dt="2024-02-20T10:05:15.209" v="309" actId="2696"/>
        <pc:sldMkLst>
          <pc:docMk/>
          <pc:sldMk cId="1178340025" sldId="381"/>
        </pc:sldMkLst>
      </pc:sldChg>
      <pc:sldChg chg="addSp delSp modSp new del mod">
        <pc:chgData name="Lund, Vibeke (SGRE COG P&amp;LOG NE&amp;ME)" userId="be2c167c-cc21-4c23-92b1-78ba209712f0" providerId="ADAL" clId="{13C49F86-B934-474C-9690-776BD9B9DA05}" dt="2024-02-14T13:06:50.751" v="262" actId="2696"/>
        <pc:sldMkLst>
          <pc:docMk/>
          <pc:sldMk cId="849025085" sldId="383"/>
        </pc:sldMkLst>
      </pc:sldChg>
      <pc:sldChg chg="modSp new del mod">
        <pc:chgData name="Lund, Vibeke (SGRE COG P&amp;LOG NE&amp;ME)" userId="be2c167c-cc21-4c23-92b1-78ba209712f0" providerId="ADAL" clId="{13C49F86-B934-474C-9690-776BD9B9DA05}" dt="2024-02-14T13:00:30.937" v="244" actId="2696"/>
        <pc:sldMkLst>
          <pc:docMk/>
          <pc:sldMk cId="1271172695" sldId="383"/>
        </pc:sldMkLst>
      </pc:sldChg>
      <pc:sldChg chg="add del">
        <pc:chgData name="Lund, Vibeke (SGRE COG P&amp;LOG NE&amp;ME)" userId="be2c167c-cc21-4c23-92b1-78ba209712f0" providerId="ADAL" clId="{13C49F86-B934-474C-9690-776BD9B9DA05}" dt="2024-02-20T10:05:10.612" v="308" actId="2696"/>
        <pc:sldMkLst>
          <pc:docMk/>
          <pc:sldMk cId="3872055751" sldId="383"/>
        </pc:sldMkLst>
      </pc:sldChg>
      <pc:sldChg chg="addSp delSp add del mod setBg delDesignElem">
        <pc:chgData name="Lund, Vibeke (SGRE COG P&amp;LOG NE&amp;ME)" userId="be2c167c-cc21-4c23-92b1-78ba209712f0" providerId="ADAL" clId="{13C49F86-B934-474C-9690-776BD9B9DA05}" dt="2024-02-14T13:01:06.250" v="247" actId="2696"/>
        <pc:sldMkLst>
          <pc:docMk/>
          <pc:sldMk cId="429287538" sldId="384"/>
        </pc:sldMkLst>
      </pc:sldChg>
      <pc:sldMasterChg chg="delSldLayout">
        <pc:chgData name="Lund, Vibeke (SGRE COG P&amp;LOG NE&amp;ME)" userId="be2c167c-cc21-4c23-92b1-78ba209712f0" providerId="ADAL" clId="{13C49F86-B934-474C-9690-776BD9B9DA05}" dt="2024-02-14T13:01:06.250" v="247" actId="2696"/>
        <pc:sldMasterMkLst>
          <pc:docMk/>
          <pc:sldMasterMk cId="72354714" sldId="2147483648"/>
        </pc:sldMasterMkLst>
        <pc:sldLayoutChg chg="del">
          <pc:chgData name="Lund, Vibeke (SGRE COG P&amp;LOG NE&amp;ME)" userId="be2c167c-cc21-4c23-92b1-78ba209712f0" providerId="ADAL" clId="{13C49F86-B934-474C-9690-776BD9B9DA05}" dt="2024-02-14T13:01:06.250" v="247" actId="2696"/>
          <pc:sldLayoutMkLst>
            <pc:docMk/>
            <pc:sldMasterMk cId="72354714" sldId="2147483648"/>
            <pc:sldLayoutMk cId="1115026662" sldId="2147483703"/>
          </pc:sldLayoutMkLst>
        </pc:sldLayoutChg>
      </pc:sldMasterChg>
    </pc:docChg>
  </pc:docChgLst>
  <pc:docChgLst>
    <pc:chgData name="Lund, Vibeke (SGRE COG N P M&amp;H)" userId="S::vibeke.westenholz@siemensgamesa.com::be2c167c-cc21-4c23-92b1-78ba209712f0" providerId="AD" clId="Web-{6389E935-BC87-261A-CE51-4C97D1EA9E6A}"/>
    <pc:docChg chg="modSld sldOrd">
      <pc:chgData name="Lund, Vibeke (SGRE COG N P M&amp;H)" userId="S::vibeke.westenholz@siemensgamesa.com::be2c167c-cc21-4c23-92b1-78ba209712f0" providerId="AD" clId="Web-{6389E935-BC87-261A-CE51-4C97D1EA9E6A}" dt="2023-02-08T06:50:02.782" v="3"/>
      <pc:docMkLst>
        <pc:docMk/>
      </pc:docMkLst>
      <pc:sldChg chg="ord">
        <pc:chgData name="Lund, Vibeke (SGRE COG N P M&amp;H)" userId="S::vibeke.westenholz@siemensgamesa.com::be2c167c-cc21-4c23-92b1-78ba209712f0" providerId="AD" clId="Web-{6389E935-BC87-261A-CE51-4C97D1EA9E6A}" dt="2023-02-08T06:50:02.782" v="3"/>
        <pc:sldMkLst>
          <pc:docMk/>
          <pc:sldMk cId="469205521" sldId="260"/>
        </pc:sldMkLst>
      </pc:sldChg>
      <pc:sldChg chg="modSp">
        <pc:chgData name="Lund, Vibeke (SGRE COG N P M&amp;H)" userId="S::vibeke.westenholz@siemensgamesa.com::be2c167c-cc21-4c23-92b1-78ba209712f0" providerId="AD" clId="Web-{6389E935-BC87-261A-CE51-4C97D1EA9E6A}" dt="2023-02-08T06:36:34.520" v="1" actId="20577"/>
        <pc:sldMkLst>
          <pc:docMk/>
          <pc:sldMk cId="3176653745" sldId="296"/>
        </pc:sldMkLst>
      </pc:sldChg>
    </pc:docChg>
  </pc:docChgLst>
  <pc:docChgLst>
    <pc:chgData name="Lund, Vibeke" userId="S::vibeke.westenholz@siemensgamesa.com::be2c167c-cc21-4c23-92b1-78ba209712f0" providerId="AD" clId="Web-{16C8D92C-5FEB-0923-AC9B-5D11803CBE12}"/>
    <pc:docChg chg="modSld">
      <pc:chgData name="Lund, Vibeke" userId="S::vibeke.westenholz@siemensgamesa.com::be2c167c-cc21-4c23-92b1-78ba209712f0" providerId="AD" clId="Web-{16C8D92C-5FEB-0923-AC9B-5D11803CBE12}" dt="2025-01-23T13:32:39.921" v="11" actId="20577"/>
      <pc:docMkLst>
        <pc:docMk/>
      </pc:docMkLst>
      <pc:sldChg chg="modSp">
        <pc:chgData name="Lund, Vibeke" userId="S::vibeke.westenholz@siemensgamesa.com::be2c167c-cc21-4c23-92b1-78ba209712f0" providerId="AD" clId="Web-{16C8D92C-5FEB-0923-AC9B-5D11803CBE12}" dt="2025-01-23T13:32:39.921" v="11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16C8D92C-5FEB-0923-AC9B-5D11803CBE12}" dt="2025-01-23T13:32:39.921" v="11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modSp">
        <pc:chgData name="Lund, Vibeke" userId="S::vibeke.westenholz@siemensgamesa.com::be2c167c-cc21-4c23-92b1-78ba209712f0" providerId="AD" clId="Web-{16C8D92C-5FEB-0923-AC9B-5D11803CBE12}" dt="2025-01-23T13:31:21.153" v="5"/>
        <pc:sldMkLst>
          <pc:docMk/>
          <pc:sldMk cId="1462526466" sldId="369"/>
        </pc:sldMkLst>
        <pc:graphicFrameChg chg="mod modGraphic">
          <ac:chgData name="Lund, Vibeke" userId="S::vibeke.westenholz@siemensgamesa.com::be2c167c-cc21-4c23-92b1-78ba209712f0" providerId="AD" clId="Web-{16C8D92C-5FEB-0923-AC9B-5D11803CBE12}" dt="2025-01-23T13:31:21.153" v="5"/>
          <ac:graphicFrameMkLst>
            <pc:docMk/>
            <pc:sldMk cId="1462526466" sldId="369"/>
            <ac:graphicFrameMk id="3" creationId="{D488FA64-A4FC-4547-943F-86CB8849E592}"/>
          </ac:graphicFrameMkLst>
        </pc:graphicFrameChg>
      </pc:sldChg>
    </pc:docChg>
  </pc:docChgLst>
  <pc:docChgLst>
    <pc:chgData name="Lund, Vibeke" userId="S::vibeke.westenholz@siemensgamesa.com::be2c167c-cc21-4c23-92b1-78ba209712f0" providerId="AD" clId="Web-{B951FACB-3E3D-5CE4-24C1-E82078D97EE1}"/>
    <pc:docChg chg="modSld">
      <pc:chgData name="Lund, Vibeke" userId="S::vibeke.westenholz@siemensgamesa.com::be2c167c-cc21-4c23-92b1-78ba209712f0" providerId="AD" clId="Web-{B951FACB-3E3D-5CE4-24C1-E82078D97EE1}" dt="2025-02-20T12:05:36.078" v="13" actId="20577"/>
      <pc:docMkLst>
        <pc:docMk/>
      </pc:docMkLst>
      <pc:sldChg chg="modSp">
        <pc:chgData name="Lund, Vibeke" userId="S::vibeke.westenholz@siemensgamesa.com::be2c167c-cc21-4c23-92b1-78ba209712f0" providerId="AD" clId="Web-{B951FACB-3E3D-5CE4-24C1-E82078D97EE1}" dt="2025-02-20T07:40:19.962" v="10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B951FACB-3E3D-5CE4-24C1-E82078D97EE1}" dt="2025-02-20T07:40:19.962" v="10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modSp">
        <pc:chgData name="Lund, Vibeke" userId="S::vibeke.westenholz@siemensgamesa.com::be2c167c-cc21-4c23-92b1-78ba209712f0" providerId="AD" clId="Web-{B951FACB-3E3D-5CE4-24C1-E82078D97EE1}" dt="2025-02-20T12:05:36.078" v="13" actId="20577"/>
        <pc:sldMkLst>
          <pc:docMk/>
          <pc:sldMk cId="1462526466" sldId="369"/>
        </pc:sldMkLst>
        <pc:spChg chg="mod">
          <ac:chgData name="Lund, Vibeke" userId="S::vibeke.westenholz@siemensgamesa.com::be2c167c-cc21-4c23-92b1-78ba209712f0" providerId="AD" clId="Web-{B951FACB-3E3D-5CE4-24C1-E82078D97EE1}" dt="2025-02-20T12:05:36.078" v="13" actId="20577"/>
          <ac:spMkLst>
            <pc:docMk/>
            <pc:sldMk cId="1462526466" sldId="369"/>
            <ac:spMk id="24" creationId="{791BE622-C43F-4F53-9EF7-AE95C277AB41}"/>
          </ac:spMkLst>
        </pc:spChg>
      </pc:sldChg>
    </pc:docChg>
  </pc:docChgLst>
  <pc:docChgLst>
    <pc:chgData name="Lund, Vibeke" userId="S::vibeke.westenholz@siemensgamesa.com::be2c167c-cc21-4c23-92b1-78ba209712f0" providerId="AD" clId="Web-{6CCBC53B-A608-41C6-D505-DACCC745ABE7}"/>
    <pc:docChg chg="modSld">
      <pc:chgData name="Lund, Vibeke" userId="S::vibeke.westenholz@siemensgamesa.com::be2c167c-cc21-4c23-92b1-78ba209712f0" providerId="AD" clId="Web-{6CCBC53B-A608-41C6-D505-DACCC745ABE7}" dt="2025-01-23T09:02:32.904" v="19" actId="20577"/>
      <pc:docMkLst>
        <pc:docMk/>
      </pc:docMkLst>
      <pc:sldChg chg="modSp">
        <pc:chgData name="Lund, Vibeke" userId="S::vibeke.westenholz@siemensgamesa.com::be2c167c-cc21-4c23-92b1-78ba209712f0" providerId="AD" clId="Web-{6CCBC53B-A608-41C6-D505-DACCC745ABE7}" dt="2025-01-23T09:02:32.904" v="19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6CCBC53B-A608-41C6-D505-DACCC745ABE7}" dt="2025-01-23T09:02:32.904" v="19" actId="20577"/>
          <ac:spMkLst>
            <pc:docMk/>
            <pc:sldMk cId="284083800" sldId="310"/>
            <ac:spMk id="11" creationId="{89B4B4D0-29E4-4778-863D-84D1F1E7D884}"/>
          </ac:spMkLst>
        </pc:spChg>
      </pc:sldChg>
    </pc:docChg>
  </pc:docChgLst>
  <pc:docChgLst>
    <pc:chgData name="Jakobsen, Lone (SGRE COG N SCL SM BDK)" userId="S::lone.jakobsen@siemensgamesa.com::b97f7784-7dac-40b5-a391-efabebb228d3" providerId="AD" clId="Web-{150462EB-2839-09DD-EA1E-58FDE4A62FF1}"/>
    <pc:docChg chg="delSld modSld sldOrd modSection">
      <pc:chgData name="Jakobsen, Lone (SGRE COG N SCL SM BDK)" userId="S::lone.jakobsen@siemensgamesa.com::b97f7784-7dac-40b5-a391-efabebb228d3" providerId="AD" clId="Web-{150462EB-2839-09DD-EA1E-58FDE4A62FF1}" dt="2024-02-02T09:35:51.307" v="151"/>
      <pc:docMkLst>
        <pc:docMk/>
      </pc:docMkLst>
      <pc:sldChg chg="del">
        <pc:chgData name="Jakobsen, Lone (SGRE COG N SCL SM BDK)" userId="S::lone.jakobsen@siemensgamesa.com::b97f7784-7dac-40b5-a391-efabebb228d3" providerId="AD" clId="Web-{150462EB-2839-09DD-EA1E-58FDE4A62FF1}" dt="2024-02-02T09:32:01.985" v="124"/>
        <pc:sldMkLst>
          <pc:docMk/>
          <pc:sldMk cId="3563952106" sldId="284"/>
        </pc:sldMkLst>
      </pc:sldChg>
      <pc:sldChg chg="modSp">
        <pc:chgData name="Jakobsen, Lone (SGRE COG N SCL SM BDK)" userId="S::lone.jakobsen@siemensgamesa.com::b97f7784-7dac-40b5-a391-efabebb228d3" providerId="AD" clId="Web-{150462EB-2839-09DD-EA1E-58FDE4A62FF1}" dt="2024-02-02T09:30:17.497" v="117" actId="20577"/>
        <pc:sldMkLst>
          <pc:docMk/>
          <pc:sldMk cId="1320544008" sldId="286"/>
        </pc:sldMkLst>
      </pc:sldChg>
      <pc:sldChg chg="ord">
        <pc:chgData name="Jakobsen, Lone (SGRE COG N SCL SM BDK)" userId="S::lone.jakobsen@siemensgamesa.com::b97f7784-7dac-40b5-a391-efabebb228d3" providerId="AD" clId="Web-{150462EB-2839-09DD-EA1E-58FDE4A62FF1}" dt="2024-02-02T09:31:22.609" v="121"/>
        <pc:sldMkLst>
          <pc:docMk/>
          <pc:sldMk cId="1468755633" sldId="299"/>
        </pc:sldMkLst>
      </pc:sldChg>
      <pc:sldChg chg="addSp delSp modSp ord">
        <pc:chgData name="Jakobsen, Lone (SGRE COG N SCL SM BDK)" userId="S::lone.jakobsen@siemensgamesa.com::b97f7784-7dac-40b5-a391-efabebb228d3" providerId="AD" clId="Web-{150462EB-2839-09DD-EA1E-58FDE4A62FF1}" dt="2024-02-02T09:31:30.468" v="123"/>
        <pc:sldMkLst>
          <pc:docMk/>
          <pc:sldMk cId="2987051269" sldId="348"/>
        </pc:sldMkLst>
      </pc:sldChg>
      <pc:sldChg chg="del">
        <pc:chgData name="Jakobsen, Lone (SGRE COG N SCL SM BDK)" userId="S::lone.jakobsen@siemensgamesa.com::b97f7784-7dac-40b5-a391-efabebb228d3" providerId="AD" clId="Web-{150462EB-2839-09DD-EA1E-58FDE4A62FF1}" dt="2024-02-02T09:35:51.307" v="151"/>
        <pc:sldMkLst>
          <pc:docMk/>
          <pc:sldMk cId="2076336558" sldId="350"/>
        </pc:sldMkLst>
      </pc:sldChg>
      <pc:sldChg chg="del">
        <pc:chgData name="Jakobsen, Lone (SGRE COG N SCL SM BDK)" userId="S::lone.jakobsen@siemensgamesa.com::b97f7784-7dac-40b5-a391-efabebb228d3" providerId="AD" clId="Web-{150462EB-2839-09DD-EA1E-58FDE4A62FF1}" dt="2024-02-02T09:35:48.494" v="150"/>
        <pc:sldMkLst>
          <pc:docMk/>
          <pc:sldMk cId="4192225459" sldId="351"/>
        </pc:sldMkLst>
      </pc:sldChg>
      <pc:sldChg chg="modSp">
        <pc:chgData name="Jakobsen, Lone (SGRE COG N SCL SM BDK)" userId="S::lone.jakobsen@siemensgamesa.com::b97f7784-7dac-40b5-a391-efabebb228d3" providerId="AD" clId="Web-{150462EB-2839-09DD-EA1E-58FDE4A62FF1}" dt="2024-02-02T09:33:57.021" v="149" actId="20577"/>
        <pc:sldMkLst>
          <pc:docMk/>
          <pc:sldMk cId="1405606700" sldId="365"/>
        </pc:sldMkLst>
      </pc:sldChg>
    </pc:docChg>
  </pc:docChgLst>
  <pc:docChgLst>
    <pc:chgData name="Lynnerup, Michelle (SGRE SE SP&amp;S LOG ROM NE&amp;ME)" userId="S::michelle.lynnerup@siemensgamesa.com::72c21a01-62b5-4fd6-8407-cdfcc0b436f1" providerId="AD" clId="Web-{E244726A-BB11-3395-5D91-ACC1BCE3881A}"/>
    <pc:docChg chg="modSld">
      <pc:chgData name="Lynnerup, Michelle (SGRE SE SP&amp;S LOG ROM NE&amp;ME)" userId="S::michelle.lynnerup@siemensgamesa.com::72c21a01-62b5-4fd6-8407-cdfcc0b436f1" providerId="AD" clId="Web-{E244726A-BB11-3395-5D91-ACC1BCE3881A}" dt="2023-02-03T17:11:18.021" v="1005" actId="20577"/>
      <pc:docMkLst>
        <pc:docMk/>
      </pc:docMkLst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3:22:05.395" v="1" actId="20577"/>
        <pc:sldMkLst>
          <pc:docMk/>
          <pc:sldMk cId="2028741205" sldId="256"/>
        </pc:sldMkLst>
      </pc:sldChg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5:03:00.114" v="861" actId="20577"/>
        <pc:sldMkLst>
          <pc:docMk/>
          <pc:sldMk cId="1109116256" sldId="257"/>
        </pc:sldMkLst>
      </pc:sldChg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6:22:57.323" v="886" actId="20577"/>
        <pc:sldMkLst>
          <pc:docMk/>
          <pc:sldMk cId="469205521" sldId="260"/>
        </pc:sldMkLst>
      </pc:sldChg>
      <pc:sldChg chg="addSp delSp modSp">
        <pc:chgData name="Lynnerup, Michelle (SGRE SE SP&amp;S LOG ROM NE&amp;ME)" userId="S::michelle.lynnerup@siemensgamesa.com::72c21a01-62b5-4fd6-8407-cdfcc0b436f1" providerId="AD" clId="Web-{E244726A-BB11-3395-5D91-ACC1BCE3881A}" dt="2023-02-03T17:11:18.021" v="1005" actId="20577"/>
        <pc:sldMkLst>
          <pc:docMk/>
          <pc:sldMk cId="3526056995" sldId="261"/>
        </pc:sldMkLst>
      </pc:sldChg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5:01:22.923" v="850" actId="20577"/>
        <pc:sldMkLst>
          <pc:docMk/>
          <pc:sldMk cId="1211001049" sldId="345"/>
        </pc:sldMkLst>
      </pc:sldChg>
    </pc:docChg>
  </pc:docChgLst>
  <pc:docChgLst>
    <pc:chgData name="Schadwinkel, Tabea (SGRE ON NE&amp;ME PM PM-PD2)" userId="34305b5f-5da0-45ec-9d22-513723642f31" providerId="ADAL" clId="{83ECF2E1-C2CE-49E2-B363-C6D045504275}"/>
    <pc:docChg chg="undo custSel modSld">
      <pc:chgData name="Schadwinkel, Tabea (SGRE ON NE&amp;ME PM PM-PD2)" userId="34305b5f-5da0-45ec-9d22-513723642f31" providerId="ADAL" clId="{83ECF2E1-C2CE-49E2-B363-C6D045504275}" dt="2023-02-23T15:34:17.940" v="449" actId="20577"/>
      <pc:docMkLst>
        <pc:docMk/>
      </pc:docMkLst>
      <pc:sldChg chg="modSp mod">
        <pc:chgData name="Schadwinkel, Tabea (SGRE ON NE&amp;ME PM PM-PD2)" userId="34305b5f-5da0-45ec-9d22-513723642f31" providerId="ADAL" clId="{83ECF2E1-C2CE-49E2-B363-C6D045504275}" dt="2023-02-23T15:34:17.940" v="449" actId="20577"/>
        <pc:sldMkLst>
          <pc:docMk/>
          <pc:sldMk cId="3672746191" sldId="313"/>
        </pc:sldMkLst>
      </pc:sldChg>
      <pc:sldChg chg="addSp delSp modSp mod modAnim">
        <pc:chgData name="Schadwinkel, Tabea (SGRE ON NE&amp;ME PM PM-PD2)" userId="34305b5f-5da0-45ec-9d22-513723642f31" providerId="ADAL" clId="{83ECF2E1-C2CE-49E2-B363-C6D045504275}" dt="2023-02-23T08:44:32.550" v="432"/>
        <pc:sldMkLst>
          <pc:docMk/>
          <pc:sldMk cId="3047106097" sldId="335"/>
        </pc:sldMkLst>
      </pc:sldChg>
    </pc:docChg>
  </pc:docChgLst>
  <pc:docChgLst>
    <pc:chgData name="Lund, Vibeke" userId="S::vibeke.westenholz@siemensgamesa.com::be2c167c-cc21-4c23-92b1-78ba209712f0" providerId="AD" clId="Web-{F61A4765-8647-4AEA-225C-317BEBECCBB0}"/>
    <pc:docChg chg="addSld delSld modSld sldOrd modSection">
      <pc:chgData name="Lund, Vibeke" userId="S::vibeke.westenholz@siemensgamesa.com::be2c167c-cc21-4c23-92b1-78ba209712f0" providerId="AD" clId="Web-{F61A4765-8647-4AEA-225C-317BEBECCBB0}" dt="2025-01-15T09:58:52.478" v="488"/>
      <pc:docMkLst>
        <pc:docMk/>
      </pc:docMkLst>
      <pc:sldChg chg="modSp add ord">
        <pc:chgData name="Lund, Vibeke" userId="S::vibeke.westenholz@siemensgamesa.com::be2c167c-cc21-4c23-92b1-78ba209712f0" providerId="AD" clId="Web-{F61A4765-8647-4AEA-225C-317BEBECCBB0}" dt="2025-01-15T07:34:17.343" v="219" actId="20577"/>
        <pc:sldMkLst>
          <pc:docMk/>
          <pc:sldMk cId="2028741205" sldId="256"/>
        </pc:sldMkLst>
        <pc:spChg chg="mod">
          <ac:chgData name="Lund, Vibeke" userId="S::vibeke.westenholz@siemensgamesa.com::be2c167c-cc21-4c23-92b1-78ba209712f0" providerId="AD" clId="Web-{F61A4765-8647-4AEA-225C-317BEBECCBB0}" dt="2025-01-15T07:34:17.343" v="219" actId="20577"/>
          <ac:spMkLst>
            <pc:docMk/>
            <pc:sldMk cId="2028741205" sldId="256"/>
            <ac:spMk id="4" creationId="{E87FD221-A9E2-4D0B-BD27-3C78FCF35676}"/>
          </ac:spMkLst>
        </pc:spChg>
      </pc:sldChg>
      <pc:sldChg chg="modSp add">
        <pc:chgData name="Lund, Vibeke" userId="S::vibeke.westenholz@siemensgamesa.com::be2c167c-cc21-4c23-92b1-78ba209712f0" providerId="AD" clId="Web-{F61A4765-8647-4AEA-225C-317BEBECCBB0}" dt="2025-01-15T07:34:04.264" v="218" actId="20577"/>
        <pc:sldMkLst>
          <pc:docMk/>
          <pc:sldMk cId="1109116256" sldId="257"/>
        </pc:sldMkLst>
      </pc:sldChg>
      <pc:sldChg chg="modSp">
        <pc:chgData name="Lund, Vibeke" userId="S::vibeke.westenholz@siemensgamesa.com::be2c167c-cc21-4c23-92b1-78ba209712f0" providerId="AD" clId="Web-{F61A4765-8647-4AEA-225C-317BEBECCBB0}" dt="2025-01-15T09:33:21.807" v="398" actId="20577"/>
        <pc:sldMkLst>
          <pc:docMk/>
          <pc:sldMk cId="1320544008" sldId="286"/>
        </pc:sldMkLst>
        <pc:spChg chg="mod">
          <ac:chgData name="Lund, Vibeke" userId="S::vibeke.westenholz@siemensgamesa.com::be2c167c-cc21-4c23-92b1-78ba209712f0" providerId="AD" clId="Web-{F61A4765-8647-4AEA-225C-317BEBECCBB0}" dt="2025-01-15T09:33:21.807" v="398" actId="20577"/>
          <ac:spMkLst>
            <pc:docMk/>
            <pc:sldMk cId="1320544008" sldId="286"/>
            <ac:spMk id="12" creationId="{0EA2A266-7FBE-4332-A700-61D78AD65338}"/>
          </ac:spMkLst>
        </pc:spChg>
      </pc:sldChg>
      <pc:sldChg chg="modSp">
        <pc:chgData name="Lund, Vibeke" userId="S::vibeke.westenholz@siemensgamesa.com::be2c167c-cc21-4c23-92b1-78ba209712f0" providerId="AD" clId="Web-{F61A4765-8647-4AEA-225C-317BEBECCBB0}" dt="2025-01-15T09:35:20.468" v="421"/>
        <pc:sldMkLst>
          <pc:docMk/>
          <pc:sldMk cId="1286349833" sldId="292"/>
        </pc:sldMkLst>
      </pc:sldChg>
      <pc:sldChg chg="modSp ord">
        <pc:chgData name="Lund, Vibeke" userId="S::vibeke.westenholz@siemensgamesa.com::be2c167c-cc21-4c23-92b1-78ba209712f0" providerId="AD" clId="Web-{F61A4765-8647-4AEA-225C-317BEBECCBB0}" dt="2025-01-15T09:29:16.047" v="396" actId="20577"/>
        <pc:sldMkLst>
          <pc:docMk/>
          <pc:sldMk cId="1840042121" sldId="293"/>
        </pc:sldMkLst>
        <pc:spChg chg="mod">
          <ac:chgData name="Lund, Vibeke" userId="S::vibeke.westenholz@siemensgamesa.com::be2c167c-cc21-4c23-92b1-78ba209712f0" providerId="AD" clId="Web-{F61A4765-8647-4AEA-225C-317BEBECCBB0}" dt="2025-01-15T09:29:16.047" v="396" actId="20577"/>
          <ac:spMkLst>
            <pc:docMk/>
            <pc:sldMk cId="1840042121" sldId="293"/>
            <ac:spMk id="10" creationId="{BD5C9BD0-DEBA-441F-9811-E50C4D0B74CF}"/>
          </ac:spMkLst>
        </pc:spChg>
      </pc:sldChg>
      <pc:sldChg chg="modSp">
        <pc:chgData name="Lund, Vibeke" userId="S::vibeke.westenholz@siemensgamesa.com::be2c167c-cc21-4c23-92b1-78ba209712f0" providerId="AD" clId="Web-{F61A4765-8647-4AEA-225C-317BEBECCBB0}" dt="2025-01-15T07:31:12.195" v="150" actId="20577"/>
        <pc:sldMkLst>
          <pc:docMk/>
          <pc:sldMk cId="2483631185" sldId="294"/>
        </pc:sldMkLst>
        <pc:spChg chg="mod">
          <ac:chgData name="Lund, Vibeke" userId="S::vibeke.westenholz@siemensgamesa.com::be2c167c-cc21-4c23-92b1-78ba209712f0" providerId="AD" clId="Web-{F61A4765-8647-4AEA-225C-317BEBECCBB0}" dt="2025-01-15T07:31:12.195" v="150" actId="20577"/>
          <ac:spMkLst>
            <pc:docMk/>
            <pc:sldMk cId="2483631185" sldId="294"/>
            <ac:spMk id="9" creationId="{BD6FEC16-E623-48C9-9672-CDEEC8F33320}"/>
          </ac:spMkLst>
        </pc:spChg>
      </pc:sldChg>
      <pc:sldChg chg="modSp ord">
        <pc:chgData name="Lund, Vibeke" userId="S::vibeke.westenholz@siemensgamesa.com::be2c167c-cc21-4c23-92b1-78ba209712f0" providerId="AD" clId="Web-{F61A4765-8647-4AEA-225C-317BEBECCBB0}" dt="2025-01-15T09:36:34.268" v="443" actId="20577"/>
        <pc:sldMkLst>
          <pc:docMk/>
          <pc:sldMk cId="3176653745" sldId="296"/>
        </pc:sldMkLst>
        <pc:spChg chg="mod">
          <ac:chgData name="Lund, Vibeke" userId="S::vibeke.westenholz@siemensgamesa.com::be2c167c-cc21-4c23-92b1-78ba209712f0" providerId="AD" clId="Web-{F61A4765-8647-4AEA-225C-317BEBECCBB0}" dt="2025-01-15T09:36:34.268" v="443" actId="20577"/>
          <ac:spMkLst>
            <pc:docMk/>
            <pc:sldMk cId="3176653745" sldId="296"/>
            <ac:spMk id="9" creationId="{6D973841-DB8C-15F6-85EC-9B3F4102A858}"/>
          </ac:spMkLst>
        </pc:spChg>
      </pc:sldChg>
      <pc:sldChg chg="modSp">
        <pc:chgData name="Lund, Vibeke" userId="S::vibeke.westenholz@siemensgamesa.com::be2c167c-cc21-4c23-92b1-78ba209712f0" providerId="AD" clId="Web-{F61A4765-8647-4AEA-225C-317BEBECCBB0}" dt="2025-01-15T09:36:05.485" v="431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F61A4765-8647-4AEA-225C-317BEBECCBB0}" dt="2025-01-15T07:30:51.288" v="147" actId="20577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Lund, Vibeke" userId="S::vibeke.westenholz@siemensgamesa.com::be2c167c-cc21-4c23-92b1-78ba209712f0" providerId="AD" clId="Web-{F61A4765-8647-4AEA-225C-317BEBECCBB0}" dt="2025-01-15T09:36:05.485" v="431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modSp ord">
        <pc:chgData name="Lund, Vibeke" userId="S::vibeke.westenholz@siemensgamesa.com::be2c167c-cc21-4c23-92b1-78ba209712f0" providerId="AD" clId="Web-{F61A4765-8647-4AEA-225C-317BEBECCBB0}" dt="2025-01-15T08:44:54.132" v="385"/>
        <pc:sldMkLst>
          <pc:docMk/>
          <pc:sldMk cId="577488301" sldId="318"/>
        </pc:sldMkLst>
        <pc:spChg chg="mod">
          <ac:chgData name="Lund, Vibeke" userId="S::vibeke.westenholz@siemensgamesa.com::be2c167c-cc21-4c23-92b1-78ba209712f0" providerId="AD" clId="Web-{F61A4765-8647-4AEA-225C-317BEBECCBB0}" dt="2025-01-15T07:33:00.887" v="191" actId="20577"/>
          <ac:spMkLst>
            <pc:docMk/>
            <pc:sldMk cId="577488301" sldId="318"/>
            <ac:spMk id="3" creationId="{FACB4378-C95C-45D7-942D-D6F00751661C}"/>
          </ac:spMkLst>
        </pc:spChg>
      </pc:sldChg>
      <pc:sldChg chg="modSp ord">
        <pc:chgData name="Lund, Vibeke" userId="S::vibeke.westenholz@siemensgamesa.com::be2c167c-cc21-4c23-92b1-78ba209712f0" providerId="AD" clId="Web-{F61A4765-8647-4AEA-225C-317BEBECCBB0}" dt="2025-01-15T09:34:39.810" v="403" actId="20577"/>
        <pc:sldMkLst>
          <pc:docMk/>
          <pc:sldMk cId="1405606700" sldId="365"/>
        </pc:sldMkLst>
      </pc:sldChg>
      <pc:sldChg chg="new del ord">
        <pc:chgData name="Lund, Vibeke" userId="S::vibeke.westenholz@siemensgamesa.com::be2c167c-cc21-4c23-92b1-78ba209712f0" providerId="AD" clId="Web-{F61A4765-8647-4AEA-225C-317BEBECCBB0}" dt="2025-01-15T07:24:45.291" v="26"/>
        <pc:sldMkLst>
          <pc:docMk/>
          <pc:sldMk cId="1994944495" sldId="366"/>
        </pc:sldMkLst>
      </pc:sldChg>
      <pc:sldChg chg="new del">
        <pc:chgData name="Lund, Vibeke" userId="S::vibeke.westenholz@siemensgamesa.com::be2c167c-cc21-4c23-92b1-78ba209712f0" providerId="AD" clId="Web-{F61A4765-8647-4AEA-225C-317BEBECCBB0}" dt="2025-01-15T07:13:59.361" v="2"/>
        <pc:sldMkLst>
          <pc:docMk/>
          <pc:sldMk cId="2876530791" sldId="366"/>
        </pc:sldMkLst>
      </pc:sldChg>
      <pc:sldChg chg="addSp delSp modSp new mod ord modClrScheme chgLayout">
        <pc:chgData name="Lund, Vibeke" userId="S::vibeke.westenholz@siemensgamesa.com::be2c167c-cc21-4c23-92b1-78ba209712f0" providerId="AD" clId="Web-{F61A4765-8647-4AEA-225C-317BEBECCBB0}" dt="2025-01-15T09:36:16.877" v="432"/>
        <pc:sldMkLst>
          <pc:docMk/>
          <pc:sldMk cId="3706399896" sldId="366"/>
        </pc:sldMkLst>
        <pc:spChg chg="mod ord">
          <ac:chgData name="Lund, Vibeke" userId="S::vibeke.westenholz@siemensgamesa.com::be2c167c-cc21-4c23-92b1-78ba209712f0" providerId="AD" clId="Web-{F61A4765-8647-4AEA-225C-317BEBECCBB0}" dt="2025-01-15T08:24:49.838" v="363"/>
          <ac:spMkLst>
            <pc:docMk/>
            <pc:sldMk cId="3706399896" sldId="366"/>
            <ac:spMk id="2" creationId="{2882660A-A39D-CF95-330F-0494FE9B577C}"/>
          </ac:spMkLst>
        </pc:spChg>
        <pc:spChg chg="mod modVis">
          <ac:chgData name="Lund, Vibeke" userId="S::vibeke.westenholz@siemensgamesa.com::be2c167c-cc21-4c23-92b1-78ba209712f0" providerId="AD" clId="Web-{F61A4765-8647-4AEA-225C-317BEBECCBB0}" dt="2025-01-15T08:24:49.838" v="363"/>
          <ac:spMkLst>
            <pc:docMk/>
            <pc:sldMk cId="3706399896" sldId="366"/>
            <ac:spMk id="6" creationId="{6D6D2D4E-4CCE-52EE-C4A1-18DBF2FC5256}"/>
          </ac:spMkLst>
        </pc:spChg>
        <pc:spChg chg="add mod">
          <ac:chgData name="Lund, Vibeke" userId="S::vibeke.westenholz@siemensgamesa.com::be2c167c-cc21-4c23-92b1-78ba209712f0" providerId="AD" clId="Web-{F61A4765-8647-4AEA-225C-317BEBECCBB0}" dt="2025-01-15T08:32:19.400" v="379" actId="20577"/>
          <ac:spMkLst>
            <pc:docMk/>
            <pc:sldMk cId="3706399896" sldId="366"/>
            <ac:spMk id="15" creationId="{C8B89267-29A8-F71A-50A2-17AE2DF332B3}"/>
          </ac:spMkLst>
        </pc:spChg>
        <pc:spChg chg="add mod">
          <ac:chgData name="Lund, Vibeke" userId="S::vibeke.westenholz@siemensgamesa.com::be2c167c-cc21-4c23-92b1-78ba209712f0" providerId="AD" clId="Web-{F61A4765-8647-4AEA-225C-317BEBECCBB0}" dt="2025-01-15T08:32:48.276" v="384" actId="20577"/>
          <ac:spMkLst>
            <pc:docMk/>
            <pc:sldMk cId="3706399896" sldId="366"/>
            <ac:spMk id="16" creationId="{B7D53BA7-8DE5-E7E9-A493-37A58B2E1840}"/>
          </ac:spMkLst>
        </pc:spChg>
        <pc:picChg chg="add mod ord">
          <ac:chgData name="Lund, Vibeke" userId="S::vibeke.westenholz@siemensgamesa.com::be2c167c-cc21-4c23-92b1-78ba209712f0" providerId="AD" clId="Web-{F61A4765-8647-4AEA-225C-317BEBECCBB0}" dt="2025-01-15T08:30:06.755" v="367" actId="14100"/>
          <ac:picMkLst>
            <pc:docMk/>
            <pc:sldMk cId="3706399896" sldId="366"/>
            <ac:picMk id="7" creationId="{27C7AC24-B717-BEE5-7715-1EDC8B0EA259}"/>
          </ac:picMkLst>
        </pc:picChg>
      </pc:sldChg>
      <pc:sldChg chg="add del replId">
        <pc:chgData name="Lund, Vibeke" userId="S::vibeke.westenholz@siemensgamesa.com::be2c167c-cc21-4c23-92b1-78ba209712f0" providerId="AD" clId="Web-{F61A4765-8647-4AEA-225C-317BEBECCBB0}" dt="2025-01-15T07:22:22.551" v="8"/>
        <pc:sldMkLst>
          <pc:docMk/>
          <pc:sldMk cId="23329750" sldId="367"/>
        </pc:sldMkLst>
      </pc:sldChg>
      <pc:sldChg chg="modSp new addAnim delAnim">
        <pc:chgData name="Lund, Vibeke" userId="S::vibeke.westenholz@siemensgamesa.com::be2c167c-cc21-4c23-92b1-78ba209712f0" providerId="AD" clId="Web-{F61A4765-8647-4AEA-225C-317BEBECCBB0}" dt="2025-01-15T09:58:52.478" v="488"/>
        <pc:sldMkLst>
          <pc:docMk/>
          <pc:sldMk cId="2656430488" sldId="367"/>
        </pc:sldMkLst>
      </pc:sldChg>
      <pc:sldChg chg="new del">
        <pc:chgData name="Lund, Vibeke" userId="S::vibeke.westenholz@siemensgamesa.com::be2c167c-cc21-4c23-92b1-78ba209712f0" providerId="AD" clId="Web-{F61A4765-8647-4AEA-225C-317BEBECCBB0}" dt="2025-01-15T07:14:01.549" v="3"/>
        <pc:sldMkLst>
          <pc:docMk/>
          <pc:sldMk cId="3750388412" sldId="367"/>
        </pc:sldMkLst>
      </pc:sldChg>
      <pc:sldMasterChg chg="addSldLayout">
        <pc:chgData name="Lund, Vibeke" userId="S::vibeke.westenholz@siemensgamesa.com::be2c167c-cc21-4c23-92b1-78ba209712f0" providerId="AD" clId="Web-{F61A4765-8647-4AEA-225C-317BEBECCBB0}" dt="2025-01-15T07:23:19.334" v="11"/>
        <pc:sldMasterMkLst>
          <pc:docMk/>
          <pc:sldMasterMk cId="72354714" sldId="2147483648"/>
        </pc:sldMasterMkLst>
        <pc:sldLayoutChg chg="add">
          <pc:chgData name="Lund, Vibeke" userId="S::vibeke.westenholz@siemensgamesa.com::be2c167c-cc21-4c23-92b1-78ba209712f0" providerId="AD" clId="Web-{F61A4765-8647-4AEA-225C-317BEBECCBB0}" dt="2025-01-15T07:23:19.334" v="11"/>
          <pc:sldLayoutMkLst>
            <pc:docMk/>
            <pc:sldMasterMk cId="72354714" sldId="2147483648"/>
            <pc:sldLayoutMk cId="2785008411" sldId="2147483703"/>
          </pc:sldLayoutMkLst>
        </pc:sldLayoutChg>
      </pc:sldMasterChg>
    </pc:docChg>
  </pc:docChgLst>
  <pc:docChgLst>
    <pc:chgData name="Schadwinkel, Tabea (SGRE F ON NE&amp;ME PM PD2)" userId="S::tabea.schadwinkel@siemensgamesa.com::1ebe15d8-8799-439a-b1b7-c2534eb557bc" providerId="AD" clId="Web-{DE321735-CC43-3BAC-E8EB-5E1D859EBF19}"/>
    <pc:docChg chg="modSld">
      <pc:chgData name="Schadwinkel, Tabea (SGRE F ON NE&amp;ME PM PD2)" userId="S::tabea.schadwinkel@siemensgamesa.com::1ebe15d8-8799-439a-b1b7-c2534eb557bc" providerId="AD" clId="Web-{DE321735-CC43-3BAC-E8EB-5E1D859EBF19}" dt="2022-02-23T15:12:18.688" v="1" actId="14100"/>
      <pc:docMkLst>
        <pc:docMk/>
      </pc:docMkLst>
      <pc:sldChg chg="addSp delSp modSp">
        <pc:chgData name="Schadwinkel, Tabea (SGRE F ON NE&amp;ME PM PD2)" userId="S::tabea.schadwinkel@siemensgamesa.com::1ebe15d8-8799-439a-b1b7-c2534eb557bc" providerId="AD" clId="Web-{DE321735-CC43-3BAC-E8EB-5E1D859EBF19}" dt="2022-02-23T15:12:18.688" v="1" actId="14100"/>
        <pc:sldMkLst>
          <pc:docMk/>
          <pc:sldMk cId="3047106097" sldId="335"/>
        </pc:sldMkLst>
      </pc:sldChg>
    </pc:docChg>
  </pc:docChgLst>
  <pc:docChgLst>
    <pc:chgData name="Lund, Vibeke (SGRE COG P&amp;LOG NE&amp;ME)" userId="S::vibeke.westenholz@siemensgamesa.com::be2c167c-cc21-4c23-92b1-78ba209712f0" providerId="AD" clId="Web-{3245AEB8-5C60-FD31-572F-FD06FA7804D0}"/>
    <pc:docChg chg="modSld sldOrd">
      <pc:chgData name="Lund, Vibeke (SGRE COG P&amp;LOG NE&amp;ME)" userId="S::vibeke.westenholz@siemensgamesa.com::be2c167c-cc21-4c23-92b1-78ba209712f0" providerId="AD" clId="Web-{3245AEB8-5C60-FD31-572F-FD06FA7804D0}" dt="2024-02-02T12:54:59.001" v="315" actId="20577"/>
      <pc:docMkLst>
        <pc:docMk/>
      </pc:docMkLst>
      <pc:sldChg chg="modSp">
        <pc:chgData name="Lund, Vibeke (SGRE COG P&amp;LOG NE&amp;ME)" userId="S::vibeke.westenholz@siemensgamesa.com::be2c167c-cc21-4c23-92b1-78ba209712f0" providerId="AD" clId="Web-{3245AEB8-5C60-FD31-572F-FD06FA7804D0}" dt="2024-02-02T12:50:46.055" v="289" actId="20577"/>
        <pc:sldMkLst>
          <pc:docMk/>
          <pc:sldMk cId="1109116256" sldId="257"/>
        </pc:sldMkLst>
      </pc:sldChg>
      <pc:sldChg chg="modSp">
        <pc:chgData name="Lund, Vibeke (SGRE COG P&amp;LOG NE&amp;ME)" userId="S::vibeke.westenholz@siemensgamesa.com::be2c167c-cc21-4c23-92b1-78ba209712f0" providerId="AD" clId="Web-{3245AEB8-5C60-FD31-572F-FD06FA7804D0}" dt="2024-02-02T12:54:59.001" v="315" actId="20577"/>
        <pc:sldMkLst>
          <pc:docMk/>
          <pc:sldMk cId="3526056995" sldId="261"/>
        </pc:sldMkLst>
      </pc:sldChg>
      <pc:sldChg chg="ord">
        <pc:chgData name="Lund, Vibeke (SGRE COG P&amp;LOG NE&amp;ME)" userId="S::vibeke.westenholz@siemensgamesa.com::be2c167c-cc21-4c23-92b1-78ba209712f0" providerId="AD" clId="Web-{3245AEB8-5C60-FD31-572F-FD06FA7804D0}" dt="2024-02-02T12:32:58.692" v="2"/>
        <pc:sldMkLst>
          <pc:docMk/>
          <pc:sldMk cId="4087205575" sldId="323"/>
        </pc:sldMkLst>
      </pc:sldChg>
      <pc:sldChg chg="modSp">
        <pc:chgData name="Lund, Vibeke (SGRE COG P&amp;LOG NE&amp;ME)" userId="S::vibeke.westenholz@siemensgamesa.com::be2c167c-cc21-4c23-92b1-78ba209712f0" providerId="AD" clId="Web-{3245AEB8-5C60-FD31-572F-FD06FA7804D0}" dt="2024-02-02T12:54:24.468" v="311" actId="20577"/>
        <pc:sldMkLst>
          <pc:docMk/>
          <pc:sldMk cId="1211001049" sldId="345"/>
        </pc:sldMkLst>
      </pc:sldChg>
    </pc:docChg>
  </pc:docChgLst>
  <pc:docChgLst>
    <pc:chgData name="Lund, Vibeke" userId="S::vibeke.westenholz@siemensgamesa.com::be2c167c-cc21-4c23-92b1-78ba209712f0" providerId="AD" clId="Web-{547831C4-5C95-DA99-7126-6BC2EBF0A8DC}"/>
    <pc:docChg chg="modSld">
      <pc:chgData name="Lund, Vibeke" userId="S::vibeke.westenholz@siemensgamesa.com::be2c167c-cc21-4c23-92b1-78ba209712f0" providerId="AD" clId="Web-{547831C4-5C95-DA99-7126-6BC2EBF0A8DC}" dt="2025-01-14T13:57:16.510" v="3" actId="20577"/>
      <pc:docMkLst>
        <pc:docMk/>
      </pc:docMkLst>
      <pc:sldChg chg="modSp">
        <pc:chgData name="Lund, Vibeke" userId="S::vibeke.westenholz@siemensgamesa.com::be2c167c-cc21-4c23-92b1-78ba209712f0" providerId="AD" clId="Web-{547831C4-5C95-DA99-7126-6BC2EBF0A8DC}" dt="2025-01-14T13:57:16.510" v="3" actId="20577"/>
        <pc:sldMkLst>
          <pc:docMk/>
          <pc:sldMk cId="2483631185" sldId="294"/>
        </pc:sldMkLst>
        <pc:spChg chg="mod">
          <ac:chgData name="Lund, Vibeke" userId="S::vibeke.westenholz@siemensgamesa.com::be2c167c-cc21-4c23-92b1-78ba209712f0" providerId="AD" clId="Web-{547831C4-5C95-DA99-7126-6BC2EBF0A8DC}" dt="2025-01-14T13:57:16.510" v="3" actId="20577"/>
          <ac:spMkLst>
            <pc:docMk/>
            <pc:sldMk cId="2483631185" sldId="294"/>
            <ac:spMk id="9" creationId="{BD6FEC16-E623-48C9-9672-CDEEC8F33320}"/>
          </ac:spMkLst>
        </pc:spChg>
      </pc:sldChg>
      <pc:sldChg chg="modSp">
        <pc:chgData name="Lund, Vibeke" userId="S::vibeke.westenholz@siemensgamesa.com::be2c167c-cc21-4c23-92b1-78ba209712f0" providerId="AD" clId="Web-{547831C4-5C95-DA99-7126-6BC2EBF0A8DC}" dt="2025-01-14T13:56:51.993" v="1" actId="14100"/>
        <pc:sldMkLst>
          <pc:docMk/>
          <pc:sldMk cId="1468755633" sldId="299"/>
        </pc:sldMkLst>
        <pc:spChg chg="mod">
          <ac:chgData name="Lund, Vibeke" userId="S::vibeke.westenholz@siemensgamesa.com::be2c167c-cc21-4c23-92b1-78ba209712f0" providerId="AD" clId="Web-{547831C4-5C95-DA99-7126-6BC2EBF0A8DC}" dt="2025-01-14T13:56:51.993" v="1" actId="14100"/>
          <ac:spMkLst>
            <pc:docMk/>
            <pc:sldMk cId="1468755633" sldId="299"/>
            <ac:spMk id="4" creationId="{3F2A2BFC-49FE-4E81-A31B-E79625429A58}"/>
          </ac:spMkLst>
        </pc:spChg>
      </pc:sldChg>
      <pc:sldChg chg="modSp">
        <pc:chgData name="Lund, Vibeke" userId="S::vibeke.westenholz@siemensgamesa.com::be2c167c-cc21-4c23-92b1-78ba209712f0" providerId="AD" clId="Web-{547831C4-5C95-DA99-7126-6BC2EBF0A8DC}" dt="2025-01-14T13:56:34.805" v="0" actId="20577"/>
        <pc:sldMkLst>
          <pc:docMk/>
          <pc:sldMk cId="1405606700" sldId="365"/>
        </pc:sldMkLst>
      </pc:sldChg>
    </pc:docChg>
  </pc:docChgLst>
  <pc:docChgLst>
    <pc:chgData name="Mortensen, Dan" userId="S::dan.mortensen@siemensgamesa.com::1cf2de62-bac6-4480-9f1d-72f59d887de9" providerId="AD" clId="Web-{C6DA38DF-B068-43CD-85AE-A2F4970E4248}"/>
    <pc:docChg chg="delSld modSld sldOrd modSection">
      <pc:chgData name="Mortensen, Dan" userId="S::dan.mortensen@siemensgamesa.com::1cf2de62-bac6-4480-9f1d-72f59d887de9" providerId="AD" clId="Web-{C6DA38DF-B068-43CD-85AE-A2F4970E4248}" dt="2025-02-20T19:30:20.155" v="92" actId="20577"/>
      <pc:docMkLst>
        <pc:docMk/>
      </pc:docMkLst>
      <pc:sldChg chg="modSp">
        <pc:chgData name="Mortensen, Dan" userId="S::dan.mortensen@siemensgamesa.com::1cf2de62-bac6-4480-9f1d-72f59d887de9" providerId="AD" clId="Web-{C6DA38DF-B068-43CD-85AE-A2F4970E4248}" dt="2025-02-20T19:30:20.155" v="92" actId="20577"/>
        <pc:sldMkLst>
          <pc:docMk/>
          <pc:sldMk cId="2483631185" sldId="294"/>
        </pc:sldMkLst>
        <pc:spChg chg="mod">
          <ac:chgData name="Mortensen, Dan" userId="S::dan.mortensen@siemensgamesa.com::1cf2de62-bac6-4480-9f1d-72f59d887de9" providerId="AD" clId="Web-{C6DA38DF-B068-43CD-85AE-A2F4970E4248}" dt="2025-02-20T19:30:20.155" v="92" actId="20577"/>
          <ac:spMkLst>
            <pc:docMk/>
            <pc:sldMk cId="2483631185" sldId="294"/>
            <ac:spMk id="9" creationId="{BD6FEC16-E623-48C9-9672-CDEEC8F33320}"/>
          </ac:spMkLst>
        </pc:spChg>
      </pc:sldChg>
      <pc:sldChg chg="del ord">
        <pc:chgData name="Mortensen, Dan" userId="S::dan.mortensen@siemensgamesa.com::1cf2de62-bac6-4480-9f1d-72f59d887de9" providerId="AD" clId="Web-{C6DA38DF-B068-43CD-85AE-A2F4970E4248}" dt="2025-02-20T19:24:32.532" v="48"/>
        <pc:sldMkLst>
          <pc:docMk/>
          <pc:sldMk cId="3706399896" sldId="366"/>
        </pc:sldMkLst>
      </pc:sldChg>
    </pc:docChg>
  </pc:docChgLst>
  <pc:docChgLst>
    <pc:chgData name="Espersen, Birgitte Hemdorff (SGRE COG N P PD&amp;E CC&amp;S)" userId="S::birgitte.espersen@siemensgamesa.com::4cdf33e7-3ce5-4877-990d-03f5377e743b" providerId="AD" clId="Web-{95A0A3F5-8D17-D5C1-2565-21915F8EF5D0}"/>
    <pc:docChg chg="modSld">
      <pc:chgData name="Espersen, Birgitte Hemdorff (SGRE COG N P PD&amp;E CC&amp;S)" userId="S::birgitte.espersen@siemensgamesa.com::4cdf33e7-3ce5-4877-990d-03f5377e743b" providerId="AD" clId="Web-{95A0A3F5-8D17-D5C1-2565-21915F8EF5D0}" dt="2023-02-08T11:24:00.839" v="9" actId="1076"/>
      <pc:docMkLst>
        <pc:docMk/>
      </pc:docMkLst>
      <pc:sldChg chg="modSp">
        <pc:chgData name="Espersen, Birgitte Hemdorff (SGRE COG N P PD&amp;E CC&amp;S)" userId="S::birgitte.espersen@siemensgamesa.com::4cdf33e7-3ce5-4877-990d-03f5377e743b" providerId="AD" clId="Web-{95A0A3F5-8D17-D5C1-2565-21915F8EF5D0}" dt="2023-02-08T11:24:00.839" v="9" actId="1076"/>
        <pc:sldMkLst>
          <pc:docMk/>
          <pc:sldMk cId="1286349833" sldId="292"/>
        </pc:sldMkLst>
      </pc:sldChg>
    </pc:docChg>
  </pc:docChgLst>
  <pc:docChgLst>
    <pc:chgData name="Mortensen, Dan" userId="S::dan.mortensen@siemensgamesa.com::1cf2de62-bac6-4480-9f1d-72f59d887de9" providerId="AD" clId="Web-{878B57DF-CA51-39CF-6159-C2872C130F3B}"/>
    <pc:docChg chg="addSld modSld sldOrd modSection">
      <pc:chgData name="Mortensen, Dan" userId="S::dan.mortensen@siemensgamesa.com::1cf2de62-bac6-4480-9f1d-72f59d887de9" providerId="AD" clId="Web-{878B57DF-CA51-39CF-6159-C2872C130F3B}" dt="2025-01-17T16:06:08.413" v="189" actId="20577"/>
      <pc:docMkLst>
        <pc:docMk/>
      </pc:docMkLst>
      <pc:sldChg chg="delSp modSp delAnim">
        <pc:chgData name="Mortensen, Dan" userId="S::dan.mortensen@siemensgamesa.com::1cf2de62-bac6-4480-9f1d-72f59d887de9" providerId="AD" clId="Web-{878B57DF-CA51-39CF-6159-C2872C130F3B}" dt="2025-01-17T14:37:19.200" v="152"/>
        <pc:sldMkLst>
          <pc:docMk/>
          <pc:sldMk cId="1286349833" sldId="292"/>
        </pc:sldMkLst>
      </pc:sldChg>
      <pc:sldChg chg="add ord replId">
        <pc:chgData name="Mortensen, Dan" userId="S::dan.mortensen@siemensgamesa.com::1cf2de62-bac6-4480-9f1d-72f59d887de9" providerId="AD" clId="Web-{878B57DF-CA51-39CF-6159-C2872C130F3B}" dt="2025-01-17T14:14:48.236" v="19"/>
        <pc:sldMkLst>
          <pc:docMk/>
          <pc:sldMk cId="1462526466" sldId="369"/>
        </pc:sldMkLst>
      </pc:sldChg>
      <pc:sldChg chg="modSp add replId">
        <pc:chgData name="Mortensen, Dan" userId="S::dan.mortensen@siemensgamesa.com::1cf2de62-bac6-4480-9f1d-72f59d887de9" providerId="AD" clId="Web-{878B57DF-CA51-39CF-6159-C2872C130F3B}" dt="2025-01-17T15:44:31.289" v="155" actId="20577"/>
        <pc:sldMkLst>
          <pc:docMk/>
          <pc:sldMk cId="3901689270" sldId="370"/>
        </pc:sldMkLst>
      </pc:sldChg>
      <pc:sldChg chg="add replId">
        <pc:chgData name="Mortensen, Dan" userId="S::dan.mortensen@siemensgamesa.com::1cf2de62-bac6-4480-9f1d-72f59d887de9" providerId="AD" clId="Web-{878B57DF-CA51-39CF-6159-C2872C130F3B}" dt="2025-01-17T15:45:26.432" v="156"/>
        <pc:sldMkLst>
          <pc:docMk/>
          <pc:sldMk cId="643992078" sldId="371"/>
        </pc:sldMkLst>
      </pc:sldChg>
      <pc:sldChg chg="addSp delSp modSp add ord replId">
        <pc:chgData name="Mortensen, Dan" userId="S::dan.mortensen@siemensgamesa.com::1cf2de62-bac6-4480-9f1d-72f59d887de9" providerId="AD" clId="Web-{878B57DF-CA51-39CF-6159-C2872C130F3B}" dt="2025-01-17T15:47:32.530" v="186"/>
        <pc:sldMkLst>
          <pc:docMk/>
          <pc:sldMk cId="2983965210" sldId="372"/>
        </pc:sldMkLst>
      </pc:sldChg>
      <pc:sldChg chg="modSp add replId">
        <pc:chgData name="Mortensen, Dan" userId="S::dan.mortensen@siemensgamesa.com::1cf2de62-bac6-4480-9f1d-72f59d887de9" providerId="AD" clId="Web-{878B57DF-CA51-39CF-6159-C2872C130F3B}" dt="2025-01-17T15:47:20.764" v="185" actId="20577"/>
        <pc:sldMkLst>
          <pc:docMk/>
          <pc:sldMk cId="209147826" sldId="373"/>
        </pc:sldMkLst>
      </pc:sldChg>
      <pc:sldChg chg="modSp add replId">
        <pc:chgData name="Mortensen, Dan" userId="S::dan.mortensen@siemensgamesa.com::1cf2de62-bac6-4480-9f1d-72f59d887de9" providerId="AD" clId="Web-{878B57DF-CA51-39CF-6159-C2872C130F3B}" dt="2025-01-17T16:06:08.413" v="189" actId="20577"/>
        <pc:sldMkLst>
          <pc:docMk/>
          <pc:sldMk cId="1257059004" sldId="374"/>
        </pc:sldMkLst>
      </pc:sldChg>
    </pc:docChg>
  </pc:docChgLst>
  <pc:docChgLst>
    <pc:chgData name="Ludvigsen, Marianne" userId="b8e97122-e9d9-41eb-9c7f-69939e550ce8" providerId="ADAL" clId="{F1C18C1A-7E1F-4A38-8E40-1CE9496E8A8B}"/>
    <pc:docChg chg="undo custSel addSld delSld modSld sldOrd modSection">
      <pc:chgData name="Ludvigsen, Marianne" userId="b8e97122-e9d9-41eb-9c7f-69939e550ce8" providerId="ADAL" clId="{F1C18C1A-7E1F-4A38-8E40-1CE9496E8A8B}" dt="2025-02-18T13:51:53.678" v="16" actId="2696"/>
      <pc:docMkLst>
        <pc:docMk/>
      </pc:docMkLst>
      <pc:sldChg chg="new del">
        <pc:chgData name="Ludvigsen, Marianne" userId="b8e97122-e9d9-41eb-9c7f-69939e550ce8" providerId="ADAL" clId="{F1C18C1A-7E1F-4A38-8E40-1CE9496E8A8B}" dt="2025-02-18T13:21:58.875" v="3" actId="680"/>
        <pc:sldMkLst>
          <pc:docMk/>
          <pc:sldMk cId="2150051665" sldId="381"/>
        </pc:sldMkLst>
      </pc:sldChg>
      <pc:sldChg chg="new del">
        <pc:chgData name="Ludvigsen, Marianne" userId="b8e97122-e9d9-41eb-9c7f-69939e550ce8" providerId="ADAL" clId="{F1C18C1A-7E1F-4A38-8E40-1CE9496E8A8B}" dt="2025-02-18T13:21:47.093" v="1" actId="680"/>
        <pc:sldMkLst>
          <pc:docMk/>
          <pc:sldMk cId="2818748161" sldId="381"/>
        </pc:sldMkLst>
      </pc:sldChg>
      <pc:sldChg chg="addSp delSp modSp new del mod ord">
        <pc:chgData name="Ludvigsen, Marianne" userId="b8e97122-e9d9-41eb-9c7f-69939e550ce8" providerId="ADAL" clId="{F1C18C1A-7E1F-4A38-8E40-1CE9496E8A8B}" dt="2025-02-18T13:51:53.678" v="16" actId="2696"/>
        <pc:sldMkLst>
          <pc:docMk/>
          <pc:sldMk cId="3877164408" sldId="381"/>
        </pc:sldMkLst>
      </pc:sldChg>
    </pc:docChg>
  </pc:docChgLst>
  <pc:docChgLst>
    <pc:chgData name="Lund, Vibeke" userId="S::vibeke.westenholz@siemensgamesa.com::be2c167c-cc21-4c23-92b1-78ba209712f0" providerId="AD" clId="Web-{8A7D83E5-E4D8-A2AA-AA20-378EB5ABB286}"/>
    <pc:docChg chg="modSld">
      <pc:chgData name="Lund, Vibeke" userId="S::vibeke.westenholz@siemensgamesa.com::be2c167c-cc21-4c23-92b1-78ba209712f0" providerId="AD" clId="Web-{8A7D83E5-E4D8-A2AA-AA20-378EB5ABB286}" dt="2025-01-30T13:30:40.710" v="42" actId="20577"/>
      <pc:docMkLst>
        <pc:docMk/>
      </pc:docMkLst>
      <pc:sldChg chg="modSp">
        <pc:chgData name="Lund, Vibeke" userId="S::vibeke.westenholz@siemensgamesa.com::be2c167c-cc21-4c23-92b1-78ba209712f0" providerId="AD" clId="Web-{8A7D83E5-E4D8-A2AA-AA20-378EB5ABB286}" dt="2025-01-30T13:30:40.710" v="42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8A7D83E5-E4D8-A2AA-AA20-378EB5ABB286}" dt="2025-01-30T13:30:40.710" v="42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modSp">
        <pc:chgData name="Lund, Vibeke" userId="S::vibeke.westenholz@siemensgamesa.com::be2c167c-cc21-4c23-92b1-78ba209712f0" providerId="AD" clId="Web-{8A7D83E5-E4D8-A2AA-AA20-378EB5ABB286}" dt="2025-01-30T13:30:08.334" v="3"/>
        <pc:sldMkLst>
          <pc:docMk/>
          <pc:sldMk cId="1462526466" sldId="369"/>
        </pc:sldMkLst>
        <pc:graphicFrameChg chg="mod modGraphic">
          <ac:chgData name="Lund, Vibeke" userId="S::vibeke.westenholz@siemensgamesa.com::be2c167c-cc21-4c23-92b1-78ba209712f0" providerId="AD" clId="Web-{8A7D83E5-E4D8-A2AA-AA20-378EB5ABB286}" dt="2025-01-30T13:30:08.334" v="3"/>
          <ac:graphicFrameMkLst>
            <pc:docMk/>
            <pc:sldMk cId="1462526466" sldId="369"/>
            <ac:graphicFrameMk id="3" creationId="{D488FA64-A4FC-4547-943F-86CB8849E592}"/>
          </ac:graphicFrameMkLst>
        </pc:graphicFrameChg>
      </pc:sldChg>
    </pc:docChg>
  </pc:docChgLst>
  <pc:docChgLst>
    <pc:chgData name="Lund, Vibeke" userId="be2c167c-cc21-4c23-92b1-78ba209712f0" providerId="ADAL" clId="{37190211-D1DC-459C-875C-880D9675B53A}"/>
    <pc:docChg chg="custSel addSld delSld modSld sldOrd modSection">
      <pc:chgData name="Lund, Vibeke" userId="be2c167c-cc21-4c23-92b1-78ba209712f0" providerId="ADAL" clId="{37190211-D1DC-459C-875C-880D9675B53A}" dt="2025-01-24T08:34:07.656" v="140" actId="20577"/>
      <pc:docMkLst>
        <pc:docMk/>
      </pc:docMkLst>
      <pc:sldChg chg="modSp mod">
        <pc:chgData name="Lund, Vibeke" userId="be2c167c-cc21-4c23-92b1-78ba209712f0" providerId="ADAL" clId="{37190211-D1DC-459C-875C-880D9675B53A}" dt="2025-01-24T08:34:07.656" v="140" actId="20577"/>
        <pc:sldMkLst>
          <pc:docMk/>
          <pc:sldMk cId="643992078" sldId="371"/>
        </pc:sldMkLst>
        <pc:spChg chg="mod">
          <ac:chgData name="Lund, Vibeke" userId="be2c167c-cc21-4c23-92b1-78ba209712f0" providerId="ADAL" clId="{37190211-D1DC-459C-875C-880D9675B53A}" dt="2025-01-24T08:34:07.656" v="140" actId="20577"/>
          <ac:spMkLst>
            <pc:docMk/>
            <pc:sldMk cId="643992078" sldId="371"/>
            <ac:spMk id="6" creationId="{ECCB7D8A-828C-4A5A-87D9-D3FD263901E9}"/>
          </ac:spMkLst>
        </pc:spChg>
      </pc:sldChg>
      <pc:sldChg chg="modSp del mod">
        <pc:chgData name="Lund, Vibeke" userId="be2c167c-cc21-4c23-92b1-78ba209712f0" providerId="ADAL" clId="{37190211-D1DC-459C-875C-880D9675B53A}" dt="2025-01-24T08:32:02.490" v="96" actId="2696"/>
        <pc:sldMkLst>
          <pc:docMk/>
          <pc:sldMk cId="1257059004" sldId="374"/>
        </pc:sldMkLst>
      </pc:sldChg>
      <pc:sldChg chg="del">
        <pc:chgData name="Lund, Vibeke" userId="be2c167c-cc21-4c23-92b1-78ba209712f0" providerId="ADAL" clId="{37190211-D1DC-459C-875C-880D9675B53A}" dt="2025-01-24T08:32:41.274" v="129" actId="2696"/>
        <pc:sldMkLst>
          <pc:docMk/>
          <pc:sldMk cId="3104882537" sldId="375"/>
        </pc:sldMkLst>
      </pc:sldChg>
      <pc:sldChg chg="modSp add mod">
        <pc:chgData name="Lund, Vibeke" userId="be2c167c-cc21-4c23-92b1-78ba209712f0" providerId="ADAL" clId="{37190211-D1DC-459C-875C-880D9675B53A}" dt="2025-01-24T08:33:55.122" v="137" actId="20577"/>
        <pc:sldMkLst>
          <pc:docMk/>
          <pc:sldMk cId="2420981547" sldId="376"/>
        </pc:sldMkLst>
        <pc:spChg chg="mod">
          <ac:chgData name="Lund, Vibeke" userId="be2c167c-cc21-4c23-92b1-78ba209712f0" providerId="ADAL" clId="{37190211-D1DC-459C-875C-880D9675B53A}" dt="2025-01-24T08:33:55.122" v="137" actId="20577"/>
          <ac:spMkLst>
            <pc:docMk/>
            <pc:sldMk cId="2420981547" sldId="376"/>
            <ac:spMk id="6" creationId="{ECCB7D8A-828C-4A5A-87D9-D3FD263901E9}"/>
          </ac:spMkLst>
        </pc:spChg>
      </pc:sldChg>
      <pc:sldChg chg="modSp add mod ord">
        <pc:chgData name="Lund, Vibeke" userId="be2c167c-cc21-4c23-92b1-78ba209712f0" providerId="ADAL" clId="{37190211-D1DC-459C-875C-880D9675B53A}" dt="2025-01-24T08:33:39.049" v="135" actId="20577"/>
        <pc:sldMkLst>
          <pc:docMk/>
          <pc:sldMk cId="3450183392" sldId="377"/>
        </pc:sldMkLst>
        <pc:spChg chg="mod">
          <ac:chgData name="Lund, Vibeke" userId="be2c167c-cc21-4c23-92b1-78ba209712f0" providerId="ADAL" clId="{37190211-D1DC-459C-875C-880D9675B53A}" dt="2025-01-24T08:33:39.049" v="135" actId="20577"/>
          <ac:spMkLst>
            <pc:docMk/>
            <pc:sldMk cId="3450183392" sldId="377"/>
            <ac:spMk id="6" creationId="{ECCB7D8A-828C-4A5A-87D9-D3FD263901E9}"/>
          </ac:spMkLst>
        </pc:spChg>
      </pc:sldChg>
      <pc:sldChg chg="addSp delSp modSp new del mod modClrScheme chgLayout">
        <pc:chgData name="Lund, Vibeke" userId="be2c167c-cc21-4c23-92b1-78ba209712f0" providerId="ADAL" clId="{37190211-D1DC-459C-875C-880D9675B53A}" dt="2025-01-24T08:30:44.322" v="58" actId="2696"/>
        <pc:sldMkLst>
          <pc:docMk/>
          <pc:sldMk cId="91149514" sldId="378"/>
        </pc:sldMkLst>
      </pc:sldChg>
      <pc:sldChg chg="modSp add mod ord">
        <pc:chgData name="Lund, Vibeke" userId="be2c167c-cc21-4c23-92b1-78ba209712f0" providerId="ADAL" clId="{37190211-D1DC-459C-875C-880D9675B53A}" dt="2025-01-24T08:33:22.054" v="133" actId="255"/>
        <pc:sldMkLst>
          <pc:docMk/>
          <pc:sldMk cId="2146857642" sldId="378"/>
        </pc:sldMkLst>
        <pc:spChg chg="mod">
          <ac:chgData name="Lund, Vibeke" userId="be2c167c-cc21-4c23-92b1-78ba209712f0" providerId="ADAL" clId="{37190211-D1DC-459C-875C-880D9675B53A}" dt="2025-01-24T08:33:22.054" v="133" actId="255"/>
          <ac:spMkLst>
            <pc:docMk/>
            <pc:sldMk cId="2146857642" sldId="378"/>
            <ac:spMk id="6" creationId="{ECCB7D8A-828C-4A5A-87D9-D3FD263901E9}"/>
          </ac:spMkLst>
        </pc:spChg>
      </pc:sldChg>
      <pc:sldChg chg="add del ord">
        <pc:chgData name="Lund, Vibeke" userId="be2c167c-cc21-4c23-92b1-78ba209712f0" providerId="ADAL" clId="{37190211-D1DC-459C-875C-880D9675B53A}" dt="2025-01-24T08:31:09.976" v="62" actId="2696"/>
        <pc:sldMkLst>
          <pc:docMk/>
          <pc:sldMk cId="3922043685" sldId="378"/>
        </pc:sldMkLst>
      </pc:sldChg>
    </pc:docChg>
  </pc:docChgLst>
  <pc:docChgLst>
    <pc:chgData name="Lundemark, Michelle (SGRE COG N SCL SM BDK)" userId="S::michelle.lundemark@siemensgamesa.com::b6046ab8-d8e6-46a1-95a4-a447238e3b69" providerId="AD" clId="Web-{549328F8-19FB-20F3-559B-9F888E2D3EE5}"/>
    <pc:docChg chg="modSld">
      <pc:chgData name="Lundemark, Michelle (SGRE COG N SCL SM BDK)" userId="S::michelle.lundemark@siemensgamesa.com::b6046ab8-d8e6-46a1-95a4-a447238e3b69" providerId="AD" clId="Web-{549328F8-19FB-20F3-559B-9F888E2D3EE5}" dt="2024-02-15T08:23:34.053" v="9" actId="1076"/>
      <pc:docMkLst>
        <pc:docMk/>
      </pc:docMkLst>
      <pc:sldChg chg="addSp delSp modSp">
        <pc:chgData name="Lundemark, Michelle (SGRE COG N SCL SM BDK)" userId="S::michelle.lundemark@siemensgamesa.com::b6046ab8-d8e6-46a1-95a4-a447238e3b69" providerId="AD" clId="Web-{549328F8-19FB-20F3-559B-9F888E2D3EE5}" dt="2024-02-15T08:23:34.053" v="9" actId="1076"/>
        <pc:sldMkLst>
          <pc:docMk/>
          <pc:sldMk cId="2318221535" sldId="370"/>
        </pc:sldMkLst>
      </pc:sldChg>
    </pc:docChg>
  </pc:docChgLst>
  <pc:docChgLst>
    <pc:chgData name="Lund, Vibeke" userId="S::vibeke.westenholz@siemensgamesa.com::be2c167c-cc21-4c23-92b1-78ba209712f0" providerId="AD" clId="Web-{74006D18-1533-0F09-47A7-2D666E018CC9}"/>
    <pc:docChg chg="modSld">
      <pc:chgData name="Lund, Vibeke" userId="S::vibeke.westenholz@siemensgamesa.com::be2c167c-cc21-4c23-92b1-78ba209712f0" providerId="AD" clId="Web-{74006D18-1533-0F09-47A7-2D666E018CC9}" dt="2025-02-18T13:44:56.727" v="14" actId="20577"/>
      <pc:docMkLst>
        <pc:docMk/>
      </pc:docMkLst>
      <pc:sldChg chg="modSp">
        <pc:chgData name="Lund, Vibeke" userId="S::vibeke.westenholz@siemensgamesa.com::be2c167c-cc21-4c23-92b1-78ba209712f0" providerId="AD" clId="Web-{74006D18-1533-0F09-47A7-2D666E018CC9}" dt="2025-02-18T13:44:56.727" v="14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74006D18-1533-0F09-47A7-2D666E018CC9}" dt="2025-02-18T13:44:56.727" v="14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modSp">
        <pc:chgData name="Lund, Vibeke" userId="S::vibeke.westenholz@siemensgamesa.com::be2c167c-cc21-4c23-92b1-78ba209712f0" providerId="AD" clId="Web-{74006D18-1533-0F09-47A7-2D666E018CC9}" dt="2025-02-18T13:44:34.774" v="9"/>
        <pc:sldMkLst>
          <pc:docMk/>
          <pc:sldMk cId="1462526466" sldId="369"/>
        </pc:sldMkLst>
        <pc:graphicFrameChg chg="mod modGraphic">
          <ac:chgData name="Lund, Vibeke" userId="S::vibeke.westenholz@siemensgamesa.com::be2c167c-cc21-4c23-92b1-78ba209712f0" providerId="AD" clId="Web-{74006D18-1533-0F09-47A7-2D666E018CC9}" dt="2025-02-18T13:44:34.774" v="9"/>
          <ac:graphicFrameMkLst>
            <pc:docMk/>
            <pc:sldMk cId="1462526466" sldId="369"/>
            <ac:graphicFrameMk id="3" creationId="{D488FA64-A4FC-4547-943F-86CB8849E592}"/>
          </ac:graphicFrameMkLst>
        </pc:graphicFrameChg>
      </pc:sldChg>
    </pc:docChg>
  </pc:docChgLst>
  <pc:docChgLst>
    <pc:chgData name="Lund, Vibeke" userId="S::vibeke.westenholz@siemensgamesa.com::be2c167c-cc21-4c23-92b1-78ba209712f0" providerId="AD" clId="Web-{90478518-37D5-AB1D-4743-725428F3845C}"/>
    <pc:docChg chg="delSld modSld modSection">
      <pc:chgData name="Lund, Vibeke" userId="S::vibeke.westenholz@siemensgamesa.com::be2c167c-cc21-4c23-92b1-78ba209712f0" providerId="AD" clId="Web-{90478518-37D5-AB1D-4743-725428F3845C}" dt="2025-01-14T13:41:08.908" v="208" actId="20577"/>
      <pc:docMkLst>
        <pc:docMk/>
      </pc:docMkLst>
      <pc:sldChg chg="del">
        <pc:chgData name="Lund, Vibeke" userId="S::vibeke.westenholz@siemensgamesa.com::be2c167c-cc21-4c23-92b1-78ba209712f0" providerId="AD" clId="Web-{90478518-37D5-AB1D-4743-725428F3845C}" dt="2025-01-14T13:33:38.514" v="36"/>
        <pc:sldMkLst>
          <pc:docMk/>
          <pc:sldMk cId="2028741205" sldId="256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45.827" v="38"/>
        <pc:sldMkLst>
          <pc:docMk/>
          <pc:sldMk cId="1109116256" sldId="257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50.218" v="40"/>
        <pc:sldMkLst>
          <pc:docMk/>
          <pc:sldMk cId="3526056995" sldId="261"/>
        </pc:sldMkLst>
      </pc:sldChg>
      <pc:sldChg chg="modSp">
        <pc:chgData name="Lund, Vibeke" userId="S::vibeke.westenholz@siemensgamesa.com::be2c167c-cc21-4c23-92b1-78ba209712f0" providerId="AD" clId="Web-{90478518-37D5-AB1D-4743-725428F3845C}" dt="2025-01-14T13:31:19.102" v="3" actId="20577"/>
        <pc:sldMkLst>
          <pc:docMk/>
          <pc:sldMk cId="1618370001" sldId="271"/>
        </pc:sldMkLst>
        <pc:spChg chg="mod">
          <ac:chgData name="Lund, Vibeke" userId="S::vibeke.westenholz@siemensgamesa.com::be2c167c-cc21-4c23-92b1-78ba209712f0" providerId="AD" clId="Web-{90478518-37D5-AB1D-4743-725428F3845C}" dt="2025-01-14T13:31:10.711" v="0" actId="20577"/>
          <ac:spMkLst>
            <pc:docMk/>
            <pc:sldMk cId="1618370001" sldId="271"/>
            <ac:spMk id="2" creationId="{00000000-0000-0000-0000-000000000000}"/>
          </ac:spMkLst>
        </pc:spChg>
        <pc:spChg chg="mod">
          <ac:chgData name="Lund, Vibeke" userId="S::vibeke.westenholz@siemensgamesa.com::be2c167c-cc21-4c23-92b1-78ba209712f0" providerId="AD" clId="Web-{90478518-37D5-AB1D-4743-725428F3845C}" dt="2025-01-14T13:31:19.102" v="3" actId="20577"/>
          <ac:spMkLst>
            <pc:docMk/>
            <pc:sldMk cId="1618370001" sldId="271"/>
            <ac:spMk id="3" creationId="{00000000-0000-0000-0000-000000000000}"/>
          </ac:spMkLst>
        </pc:spChg>
      </pc:sldChg>
      <pc:sldChg chg="modSp">
        <pc:chgData name="Lund, Vibeke" userId="S::vibeke.westenholz@siemensgamesa.com::be2c167c-cc21-4c23-92b1-78ba209712f0" providerId="AD" clId="Web-{90478518-37D5-AB1D-4743-725428F3845C}" dt="2025-01-14T13:32:51.637" v="25" actId="20577"/>
        <pc:sldMkLst>
          <pc:docMk/>
          <pc:sldMk cId="1320544008" sldId="286"/>
        </pc:sldMkLst>
        <pc:spChg chg="mod">
          <ac:chgData name="Lund, Vibeke" userId="S::vibeke.westenholz@siemensgamesa.com::be2c167c-cc21-4c23-92b1-78ba209712f0" providerId="AD" clId="Web-{90478518-37D5-AB1D-4743-725428F3845C}" dt="2025-01-14T13:32:51.637" v="25" actId="20577"/>
          <ac:spMkLst>
            <pc:docMk/>
            <pc:sldMk cId="1320544008" sldId="286"/>
            <ac:spMk id="4" creationId="{7B1880A8-F560-4971-93F0-7C14A34CF76C}"/>
          </ac:spMkLst>
        </pc:spChg>
      </pc:sldChg>
      <pc:sldChg chg="modSp">
        <pc:chgData name="Lund, Vibeke" userId="S::vibeke.westenholz@siemensgamesa.com::be2c167c-cc21-4c23-92b1-78ba209712f0" providerId="AD" clId="Web-{90478518-37D5-AB1D-4743-725428F3845C}" dt="2025-01-14T13:38:11.979" v="199"/>
        <pc:sldMkLst>
          <pc:docMk/>
          <pc:sldMk cId="1286349833" sldId="292"/>
        </pc:sldMkLst>
      </pc:sldChg>
      <pc:sldChg chg="modSp">
        <pc:chgData name="Lund, Vibeke" userId="S::vibeke.westenholz@siemensgamesa.com::be2c167c-cc21-4c23-92b1-78ba209712f0" providerId="AD" clId="Web-{90478518-37D5-AB1D-4743-725428F3845C}" dt="2025-01-14T13:36:33.178" v="114" actId="20577"/>
        <pc:sldMkLst>
          <pc:docMk/>
          <pc:sldMk cId="1840042121" sldId="293"/>
        </pc:sldMkLst>
        <pc:spChg chg="mod">
          <ac:chgData name="Lund, Vibeke" userId="S::vibeke.westenholz@siemensgamesa.com::be2c167c-cc21-4c23-92b1-78ba209712f0" providerId="AD" clId="Web-{90478518-37D5-AB1D-4743-725428F3845C}" dt="2025-01-14T13:36:27.740" v="113" actId="20577"/>
          <ac:spMkLst>
            <pc:docMk/>
            <pc:sldMk cId="1840042121" sldId="293"/>
            <ac:spMk id="2" creationId="{5D788ADA-8C37-43AB-89C9-1218A42316CA}"/>
          </ac:spMkLst>
        </pc:spChg>
        <pc:spChg chg="mod">
          <ac:chgData name="Lund, Vibeke" userId="S::vibeke.westenholz@siemensgamesa.com::be2c167c-cc21-4c23-92b1-78ba209712f0" providerId="AD" clId="Web-{90478518-37D5-AB1D-4743-725428F3845C}" dt="2025-01-14T13:36:33.178" v="114" actId="20577"/>
          <ac:spMkLst>
            <pc:docMk/>
            <pc:sldMk cId="1840042121" sldId="293"/>
            <ac:spMk id="4" creationId="{7B1880A8-F560-4971-93F0-7C14A34CF76C}"/>
          </ac:spMkLst>
        </pc:spChg>
      </pc:sldChg>
      <pc:sldChg chg="modSp">
        <pc:chgData name="Lund, Vibeke" userId="S::vibeke.westenholz@siemensgamesa.com::be2c167c-cc21-4c23-92b1-78ba209712f0" providerId="AD" clId="Web-{90478518-37D5-AB1D-4743-725428F3845C}" dt="2025-01-14T13:36:58.288" v="122" actId="20577"/>
        <pc:sldMkLst>
          <pc:docMk/>
          <pc:sldMk cId="2483631185" sldId="294"/>
        </pc:sldMkLst>
        <pc:spChg chg="mod">
          <ac:chgData name="Lund, Vibeke" userId="S::vibeke.westenholz@siemensgamesa.com::be2c167c-cc21-4c23-92b1-78ba209712f0" providerId="AD" clId="Web-{90478518-37D5-AB1D-4743-725428F3845C}" dt="2025-01-14T13:36:58.288" v="122" actId="20577"/>
          <ac:spMkLst>
            <pc:docMk/>
            <pc:sldMk cId="2483631185" sldId="294"/>
            <ac:spMk id="4" creationId="{7B1880A8-F560-4971-93F0-7C14A34CF76C}"/>
          </ac:spMkLst>
        </pc:spChg>
        <pc:spChg chg="mod">
          <ac:chgData name="Lund, Vibeke" userId="S::vibeke.westenholz@siemensgamesa.com::be2c167c-cc21-4c23-92b1-78ba209712f0" providerId="AD" clId="Web-{90478518-37D5-AB1D-4743-725428F3845C}" dt="2025-01-14T13:36:50.803" v="120" actId="20577"/>
          <ac:spMkLst>
            <pc:docMk/>
            <pc:sldMk cId="2483631185" sldId="294"/>
            <ac:spMk id="9" creationId="{BD6FEC16-E623-48C9-9672-CDEEC8F33320}"/>
          </ac:spMkLst>
        </pc:spChg>
      </pc:sldChg>
      <pc:sldChg chg="addSp delSp modSp">
        <pc:chgData name="Lund, Vibeke" userId="S::vibeke.westenholz@siemensgamesa.com::be2c167c-cc21-4c23-92b1-78ba209712f0" providerId="AD" clId="Web-{90478518-37D5-AB1D-4743-725428F3845C}" dt="2025-01-14T13:36:53.350" v="121"/>
        <pc:sldMkLst>
          <pc:docMk/>
          <pc:sldMk cId="3176653745" sldId="296"/>
        </pc:sldMkLst>
        <pc:spChg chg="add mod">
          <ac:chgData name="Lund, Vibeke" userId="S::vibeke.westenholz@siemensgamesa.com::be2c167c-cc21-4c23-92b1-78ba209712f0" providerId="AD" clId="Web-{90478518-37D5-AB1D-4743-725428F3845C}" dt="2025-01-14T13:36:53.350" v="121"/>
          <ac:spMkLst>
            <pc:docMk/>
            <pc:sldMk cId="3176653745" sldId="296"/>
            <ac:spMk id="9" creationId="{6D973841-DB8C-15F6-85EC-9B3F4102A858}"/>
          </ac:spMkLst>
        </pc:spChg>
      </pc:sldChg>
      <pc:sldChg chg="addSp delSp modSp">
        <pc:chgData name="Lund, Vibeke" userId="S::vibeke.westenholz@siemensgamesa.com::be2c167c-cc21-4c23-92b1-78ba209712f0" providerId="AD" clId="Web-{90478518-37D5-AB1D-4743-725428F3845C}" dt="2025-01-14T13:40:38.469" v="205" actId="1076"/>
        <pc:sldMkLst>
          <pc:docMk/>
          <pc:sldMk cId="1468755633" sldId="299"/>
        </pc:sldMkLst>
        <pc:spChg chg="mod">
          <ac:chgData name="Lund, Vibeke" userId="S::vibeke.westenholz@siemensgamesa.com::be2c167c-cc21-4c23-92b1-78ba209712f0" providerId="AD" clId="Web-{90478518-37D5-AB1D-4743-725428F3845C}" dt="2025-01-14T13:33:05.403" v="29" actId="20577"/>
          <ac:spMkLst>
            <pc:docMk/>
            <pc:sldMk cId="1468755633" sldId="299"/>
            <ac:spMk id="4" creationId="{3F2A2BFC-49FE-4E81-A31B-E79625429A58}"/>
          </ac:spMkLst>
        </pc:spChg>
        <pc:picChg chg="add mod">
          <ac:chgData name="Lund, Vibeke" userId="S::vibeke.westenholz@siemensgamesa.com::be2c167c-cc21-4c23-92b1-78ba209712f0" providerId="AD" clId="Web-{90478518-37D5-AB1D-4743-725428F3845C}" dt="2025-01-14T13:40:38.469" v="205" actId="1076"/>
          <ac:picMkLst>
            <pc:docMk/>
            <pc:sldMk cId="1468755633" sldId="299"/>
            <ac:picMk id="2" creationId="{57127818-7CB3-7DBD-62EF-571F72BAF4E7}"/>
          </ac:picMkLst>
        </pc:picChg>
      </pc:sldChg>
      <pc:sldChg chg="modSp">
        <pc:chgData name="Lund, Vibeke" userId="S::vibeke.westenholz@siemensgamesa.com::be2c167c-cc21-4c23-92b1-78ba209712f0" providerId="AD" clId="Web-{90478518-37D5-AB1D-4743-725428F3845C}" dt="2025-01-14T13:37:16.648" v="125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90478518-37D5-AB1D-4743-725428F3845C}" dt="2025-01-14T13:36:10.817" v="107" actId="20577"/>
          <ac:spMkLst>
            <pc:docMk/>
            <pc:sldMk cId="284083800" sldId="310"/>
            <ac:spMk id="4" creationId="{7B1880A8-F560-4971-93F0-7C14A34CF76C}"/>
          </ac:spMkLst>
        </pc:spChg>
        <pc:spChg chg="mod">
          <ac:chgData name="Lund, Vibeke" userId="S::vibeke.westenholz@siemensgamesa.com::be2c167c-cc21-4c23-92b1-78ba209712f0" providerId="AD" clId="Web-{90478518-37D5-AB1D-4743-725428F3845C}" dt="2025-01-14T13:37:16.648" v="125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del">
        <pc:chgData name="Lund, Vibeke" userId="S::vibeke.westenholz@siemensgamesa.com::be2c167c-cc21-4c23-92b1-78ba209712f0" providerId="AD" clId="Web-{90478518-37D5-AB1D-4743-725428F3845C}" dt="2025-01-14T13:34:04.718" v="43"/>
        <pc:sldMkLst>
          <pc:docMk/>
          <pc:sldMk cId="3672746191" sldId="313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4:07.062" v="44"/>
        <pc:sldMkLst>
          <pc:docMk/>
          <pc:sldMk cId="1209066160" sldId="314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21.888" v="32"/>
        <pc:sldMkLst>
          <pc:docMk/>
          <pc:sldMk cId="3047106097" sldId="335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4:02.218" v="42"/>
        <pc:sldMkLst>
          <pc:docMk/>
          <pc:sldMk cId="995067089" sldId="336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47.858" v="39"/>
        <pc:sldMkLst>
          <pc:docMk/>
          <pc:sldMk cId="1211001049" sldId="345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2:41.512" v="23"/>
        <pc:sldMkLst>
          <pc:docMk/>
          <pc:sldMk cId="2987051269" sldId="348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4:13.203" v="46"/>
        <pc:sldMkLst>
          <pc:docMk/>
          <pc:sldMk cId="1587693403" sldId="349"/>
        </pc:sldMkLst>
      </pc:sldChg>
      <pc:sldChg chg="modSp">
        <pc:chgData name="Lund, Vibeke" userId="S::vibeke.westenholz@siemensgamesa.com::be2c167c-cc21-4c23-92b1-78ba209712f0" providerId="AD" clId="Web-{90478518-37D5-AB1D-4743-725428F3845C}" dt="2025-01-14T13:41:08.908" v="208" actId="20577"/>
        <pc:sldMkLst>
          <pc:docMk/>
          <pc:sldMk cId="1405606700" sldId="365"/>
        </pc:sldMkLst>
      </pc:sldChg>
      <pc:sldChg chg="modSp del">
        <pc:chgData name="Lund, Vibeke" userId="S::vibeke.westenholz@siemensgamesa.com::be2c167c-cc21-4c23-92b1-78ba209712f0" providerId="AD" clId="Web-{90478518-37D5-AB1D-4743-725428F3845C}" dt="2025-01-14T13:32:59.888" v="27"/>
        <pc:sldMkLst>
          <pc:docMk/>
          <pc:sldMk cId="176201174" sldId="366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2:45.184" v="24"/>
        <pc:sldMkLst>
          <pc:docMk/>
          <pc:sldMk cId="325778309" sldId="367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14.779" v="31"/>
        <pc:sldMkLst>
          <pc:docMk/>
          <pc:sldMk cId="3627570454" sldId="368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29.733" v="34"/>
        <pc:sldMkLst>
          <pc:docMk/>
          <pc:sldMk cId="2318221535" sldId="370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34.045" v="35"/>
        <pc:sldMkLst>
          <pc:docMk/>
          <pc:sldMk cId="1005772816" sldId="371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54.952" v="41"/>
        <pc:sldMkLst>
          <pc:docMk/>
          <pc:sldMk cId="2784978758" sldId="372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4:09.500" v="45"/>
        <pc:sldMkLst>
          <pc:docMk/>
          <pc:sldMk cId="1262969020" sldId="373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4:15.703" v="47"/>
        <pc:sldMkLst>
          <pc:docMk/>
          <pc:sldMk cId="3428660079" sldId="374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6:21.037" v="110"/>
        <pc:sldMkLst>
          <pc:docMk/>
          <pc:sldMk cId="2038266353" sldId="375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6:22.990" v="111"/>
        <pc:sldMkLst>
          <pc:docMk/>
          <pc:sldMk cId="1916258096" sldId="376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6:37.944" v="115"/>
        <pc:sldMkLst>
          <pc:docMk/>
          <pc:sldMk cId="3321121259" sldId="377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26.764" v="33"/>
        <pc:sldMkLst>
          <pc:docMk/>
          <pc:sldMk cId="192227631" sldId="379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6:02.614" v="106"/>
        <pc:sldMkLst>
          <pc:docMk/>
          <pc:sldMk cId="3833803168" sldId="380"/>
        </pc:sldMkLst>
      </pc:sldChg>
      <pc:sldChg chg="del">
        <pc:chgData name="Lund, Vibeke" userId="S::vibeke.westenholz@siemensgamesa.com::be2c167c-cc21-4c23-92b1-78ba209712f0" providerId="AD" clId="Web-{90478518-37D5-AB1D-4743-725428F3845C}" dt="2025-01-14T13:33:40.780" v="37"/>
        <pc:sldMkLst>
          <pc:docMk/>
          <pc:sldMk cId="1231671585" sldId="382"/>
        </pc:sldMkLst>
      </pc:sldChg>
    </pc:docChg>
  </pc:docChgLst>
  <pc:docChgLst>
    <pc:chgData name="Wind-Larsen, Taus (SGRE TE N NT SYC&amp;MAT)" userId="S::taus.wind-larsen@siemensgamesa.com::909f4c56-f0bd-48e2-b5e6-c85fd07560b7" providerId="AD" clId="Web-{6A7B4BCA-A5DD-07A6-08E0-9805C6701E11}"/>
    <pc:docChg chg="modSld">
      <pc:chgData name="Wind-Larsen, Taus (SGRE TE N NT SYC&amp;MAT)" userId="S::taus.wind-larsen@siemensgamesa.com::909f4c56-f0bd-48e2-b5e6-c85fd07560b7" providerId="AD" clId="Web-{6A7B4BCA-A5DD-07A6-08E0-9805C6701E11}" dt="2023-02-23T13:11:10.655" v="52" actId="20577"/>
      <pc:docMkLst>
        <pc:docMk/>
      </pc:docMkLst>
      <pc:sldChg chg="modSp">
        <pc:chgData name="Wind-Larsen, Taus (SGRE TE N NT SYC&amp;MAT)" userId="S::taus.wind-larsen@siemensgamesa.com::909f4c56-f0bd-48e2-b5e6-c85fd07560b7" providerId="AD" clId="Web-{6A7B4BCA-A5DD-07A6-08E0-9805C6701E11}" dt="2023-02-23T13:11:10.655" v="52" actId="20577"/>
        <pc:sldMkLst>
          <pc:docMk/>
          <pc:sldMk cId="3672746191" sldId="313"/>
        </pc:sldMkLst>
      </pc:sldChg>
    </pc:docChg>
  </pc:docChgLst>
  <pc:docChgLst>
    <pc:chgData name="Lund, Vibeke" userId="S::vibeke.westenholz@siemensgamesa.com::be2c167c-cc21-4c23-92b1-78ba209712f0" providerId="AD" clId="Web-{D2BF3F71-A641-5824-CC1E-732DD02DF931}"/>
    <pc:docChg chg="addSld delSld modSld sldOrd modSection">
      <pc:chgData name="Lund, Vibeke" userId="S::vibeke.westenholz@siemensgamesa.com::be2c167c-cc21-4c23-92b1-78ba209712f0" providerId="AD" clId="Web-{D2BF3F71-A641-5824-CC1E-732DD02DF931}" dt="2025-01-15T11:31:23.279" v="147" actId="20577"/>
      <pc:docMkLst>
        <pc:docMk/>
      </pc:docMkLst>
      <pc:sldChg chg="modSp del">
        <pc:chgData name="Lund, Vibeke" userId="S::vibeke.westenholz@siemensgamesa.com::be2c167c-cc21-4c23-92b1-78ba209712f0" providerId="AD" clId="Web-{D2BF3F71-A641-5824-CC1E-732DD02DF931}" dt="2025-01-15T10:25:36.541" v="105"/>
        <pc:sldMkLst>
          <pc:docMk/>
          <pc:sldMk cId="1109116256" sldId="257"/>
        </pc:sldMkLst>
      </pc:sldChg>
      <pc:sldChg chg="modSp">
        <pc:chgData name="Lund, Vibeke" userId="S::vibeke.westenholz@siemensgamesa.com::be2c167c-cc21-4c23-92b1-78ba209712f0" providerId="AD" clId="Web-{D2BF3F71-A641-5824-CC1E-732DD02DF931}" dt="2025-01-15T10:28:11.061" v="128" actId="20577"/>
        <pc:sldMkLst>
          <pc:docMk/>
          <pc:sldMk cId="1286349833" sldId="292"/>
        </pc:sldMkLst>
      </pc:sldChg>
      <pc:sldChg chg="modSp">
        <pc:chgData name="Lund, Vibeke" userId="S::vibeke.westenholz@siemensgamesa.com::be2c167c-cc21-4c23-92b1-78ba209712f0" providerId="AD" clId="Web-{D2BF3F71-A641-5824-CC1E-732DD02DF931}" dt="2025-01-15T11:31:23.279" v="147" actId="20577"/>
        <pc:sldMkLst>
          <pc:docMk/>
          <pc:sldMk cId="2483631185" sldId="294"/>
        </pc:sldMkLst>
        <pc:spChg chg="mod">
          <ac:chgData name="Lund, Vibeke" userId="S::vibeke.westenholz@siemensgamesa.com::be2c167c-cc21-4c23-92b1-78ba209712f0" providerId="AD" clId="Web-{D2BF3F71-A641-5824-CC1E-732DD02DF931}" dt="2025-01-15T11:31:23.279" v="147" actId="20577"/>
          <ac:spMkLst>
            <pc:docMk/>
            <pc:sldMk cId="2483631185" sldId="294"/>
            <ac:spMk id="9" creationId="{BD6FEC16-E623-48C9-9672-CDEEC8F33320}"/>
          </ac:spMkLst>
        </pc:spChg>
      </pc:sldChg>
      <pc:sldChg chg="modSp">
        <pc:chgData name="Lund, Vibeke" userId="S::vibeke.westenholz@siemensgamesa.com::be2c167c-cc21-4c23-92b1-78ba209712f0" providerId="AD" clId="Web-{D2BF3F71-A641-5824-CC1E-732DD02DF931}" dt="2025-01-15T10:40:57.052" v="144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D2BF3F71-A641-5824-CC1E-732DD02DF931}" dt="2025-01-15T10:40:57.052" v="144" actId="20577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Lund, Vibeke" userId="S::vibeke.westenholz@siemensgamesa.com::be2c167c-cc21-4c23-92b1-78ba209712f0" providerId="AD" clId="Web-{D2BF3F71-A641-5824-CC1E-732DD02DF931}" dt="2025-01-15T10:40:51.598" v="142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ord">
        <pc:chgData name="Lund, Vibeke" userId="S::vibeke.westenholz@siemensgamesa.com::be2c167c-cc21-4c23-92b1-78ba209712f0" providerId="AD" clId="Web-{D2BF3F71-A641-5824-CC1E-732DD02DF931}" dt="2025-01-15T10:26:34.871" v="122"/>
        <pc:sldMkLst>
          <pc:docMk/>
          <pc:sldMk cId="577488301" sldId="318"/>
        </pc:sldMkLst>
      </pc:sldChg>
      <pc:sldChg chg="modSp">
        <pc:chgData name="Lund, Vibeke" userId="S::vibeke.westenholz@siemensgamesa.com::be2c167c-cc21-4c23-92b1-78ba209712f0" providerId="AD" clId="Web-{D2BF3F71-A641-5824-CC1E-732DD02DF931}" dt="2025-01-15T10:28:47.453" v="135" actId="20577"/>
        <pc:sldMkLst>
          <pc:docMk/>
          <pc:sldMk cId="3706399896" sldId="366"/>
        </pc:sldMkLst>
        <pc:spChg chg="mod">
          <ac:chgData name="Lund, Vibeke" userId="S::vibeke.westenholz@siemensgamesa.com::be2c167c-cc21-4c23-92b1-78ba209712f0" providerId="AD" clId="Web-{D2BF3F71-A641-5824-CC1E-732DD02DF931}" dt="2025-01-15T10:28:47.453" v="135" actId="20577"/>
          <ac:spMkLst>
            <pc:docMk/>
            <pc:sldMk cId="3706399896" sldId="366"/>
            <ac:spMk id="16" creationId="{B7D53BA7-8DE5-E7E9-A493-37A58B2E1840}"/>
          </ac:spMkLst>
        </pc:spChg>
      </pc:sldChg>
      <pc:sldChg chg="addSp delSp modSp new del mod setBg modClrScheme setClrOvrMap delDesignElem chgLayout">
        <pc:chgData name="Lund, Vibeke" userId="S::vibeke.westenholz@siemensgamesa.com::be2c167c-cc21-4c23-92b1-78ba209712f0" providerId="AD" clId="Web-{D2BF3F71-A641-5824-CC1E-732DD02DF931}" dt="2025-01-15T10:04:43.490" v="52"/>
        <pc:sldMkLst>
          <pc:docMk/>
          <pc:sldMk cId="876379791" sldId="367"/>
        </pc:sldMkLst>
      </pc:sldChg>
      <pc:sldChg chg="del">
        <pc:chgData name="Lund, Vibeke" userId="S::vibeke.westenholz@siemensgamesa.com::be2c167c-cc21-4c23-92b1-78ba209712f0" providerId="AD" clId="Web-{D2BF3F71-A641-5824-CC1E-732DD02DF931}" dt="2025-01-15T10:00:41.905" v="0"/>
        <pc:sldMkLst>
          <pc:docMk/>
          <pc:sldMk cId="2656430488" sldId="367"/>
        </pc:sldMkLst>
      </pc:sldChg>
      <pc:sldChg chg="new del">
        <pc:chgData name="Lund, Vibeke" userId="S::vibeke.westenholz@siemensgamesa.com::be2c167c-cc21-4c23-92b1-78ba209712f0" providerId="AD" clId="Web-{D2BF3F71-A641-5824-CC1E-732DD02DF931}" dt="2025-01-15T10:00:52.952" v="2"/>
        <pc:sldMkLst>
          <pc:docMk/>
          <pc:sldMk cId="3345128079" sldId="367"/>
        </pc:sldMkLst>
      </pc:sldChg>
      <pc:sldChg chg="addSp delSp modSp new mod modClrScheme chgLayout">
        <pc:chgData name="Lund, Vibeke" userId="S::vibeke.westenholz@siemensgamesa.com::be2c167c-cc21-4c23-92b1-78ba209712f0" providerId="AD" clId="Web-{D2BF3F71-A641-5824-CC1E-732DD02DF931}" dt="2025-01-15T10:26:28.840" v="120" actId="20577"/>
        <pc:sldMkLst>
          <pc:docMk/>
          <pc:sldMk cId="4184456199" sldId="367"/>
        </pc:sldMkLst>
        <pc:spChg chg="mod ord">
          <ac:chgData name="Lund, Vibeke" userId="S::vibeke.westenholz@siemensgamesa.com::be2c167c-cc21-4c23-92b1-78ba209712f0" providerId="AD" clId="Web-{D2BF3F71-A641-5824-CC1E-732DD02DF931}" dt="2025-01-15T10:05:13.819" v="54"/>
          <ac:spMkLst>
            <pc:docMk/>
            <pc:sldMk cId="4184456199" sldId="367"/>
            <ac:spMk id="3" creationId="{D326A69B-8259-72CD-D6E1-FF405CD96693}"/>
          </ac:spMkLst>
        </pc:spChg>
        <pc:spChg chg="add mod">
          <ac:chgData name="Lund, Vibeke" userId="S::vibeke.westenholz@siemensgamesa.com::be2c167c-cc21-4c23-92b1-78ba209712f0" providerId="AD" clId="Web-{D2BF3F71-A641-5824-CC1E-732DD02DF931}" dt="2025-01-15T10:26:28.840" v="120" actId="20577"/>
          <ac:spMkLst>
            <pc:docMk/>
            <pc:sldMk cId="4184456199" sldId="367"/>
            <ac:spMk id="21" creationId="{123F96DC-1532-F13E-5F02-FDA00F553A84}"/>
          </ac:spMkLst>
        </pc:spChg>
      </pc:sldChg>
      <pc:sldChg chg="add replId">
        <pc:chgData name="Lund, Vibeke" userId="S::vibeke.westenholz@siemensgamesa.com::be2c167c-cc21-4c23-92b1-78ba209712f0" providerId="AD" clId="Web-{D2BF3F71-A641-5824-CC1E-732DD02DF931}" dt="2025-01-15T10:25:39.901" v="106"/>
        <pc:sldMkLst>
          <pc:docMk/>
          <pc:sldMk cId="462492171" sldId="368"/>
        </pc:sldMkLst>
      </pc:sldChg>
      <pc:sldChg chg="add del">
        <pc:chgData name="Lund, Vibeke" userId="S::vibeke.westenholz@siemensgamesa.com::be2c167c-cc21-4c23-92b1-78ba209712f0" providerId="AD" clId="Web-{D2BF3F71-A641-5824-CC1E-732DD02DF931}" dt="2025-01-15T10:01:09.874" v="5"/>
        <pc:sldMkLst>
          <pc:docMk/>
          <pc:sldMk cId="2656430488" sldId="368"/>
        </pc:sldMkLst>
      </pc:sldChg>
    </pc:docChg>
  </pc:docChgLst>
  <pc:docChgLst>
    <pc:chgData name="Jakobsen, Lone (SGRE OF OPS MFG BDK SCL SM)" userId="b97f7784-7dac-40b5-a391-efabebb228d3" providerId="ADAL" clId="{F01D4D53-011C-4EB6-97C1-55E4155B0CC6}"/>
    <pc:docChg chg="modSld modNotesMaster modHandout">
      <pc:chgData name="Jakobsen, Lone (SGRE OF OPS MFG BDK SCL SM)" userId="b97f7784-7dac-40b5-a391-efabebb228d3" providerId="ADAL" clId="{F01D4D53-011C-4EB6-97C1-55E4155B0CC6}" dt="2022-02-23T08:40:51.985" v="0"/>
      <pc:docMkLst>
        <pc:docMk/>
      </pc:docMkLst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618370001" sldId="27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563952106" sldId="28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20544008" sldId="28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86349833" sldId="29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40042121" sldId="29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483631185" sldId="29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176653745" sldId="29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84083800" sldId="31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672746191" sldId="31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09066160" sldId="31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558325371" sldId="32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087205575" sldId="32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71835148" sldId="329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839263946" sldId="33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141118460" sldId="33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768869850" sldId="33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521793" sldId="33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82169009" sldId="33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047106097" sldId="335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995067089" sldId="33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79969689" sldId="337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084079554" sldId="338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31909040" sldId="339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983236087" sldId="34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018643726" sldId="34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611808819" sldId="34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31290368" sldId="34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138284291" sldId="344"/>
        </pc:sldMkLst>
      </pc:sldChg>
    </pc:docChg>
  </pc:docChgLst>
  <pc:docChgLst>
    <pc:chgData name="Soelberg, Torbjoern" userId="S::torbjoern.soelberg@siemensgamesa.com::f3cb2cb1-006e-47a7-b330-9498e7ecbc1e" providerId="AD" clId="Web-{F525026D-14FF-4C6B-AE94-A5C8AB0837C9}"/>
    <pc:docChg chg="modSld">
      <pc:chgData name="Soelberg, Torbjoern" userId="S::torbjoern.soelberg@siemensgamesa.com::f3cb2cb1-006e-47a7-b330-9498e7ecbc1e" providerId="AD" clId="Web-{F525026D-14FF-4C6B-AE94-A5C8AB0837C9}" dt="2025-02-09T18:10:35.046" v="6" actId="20577"/>
      <pc:docMkLst>
        <pc:docMk/>
      </pc:docMkLst>
      <pc:sldChg chg="modSp">
        <pc:chgData name="Soelberg, Torbjoern" userId="S::torbjoern.soelberg@siemensgamesa.com::f3cb2cb1-006e-47a7-b330-9498e7ecbc1e" providerId="AD" clId="Web-{F525026D-14FF-4C6B-AE94-A5C8AB0837C9}" dt="2025-02-09T18:09:30.122" v="3"/>
        <pc:sldMkLst>
          <pc:docMk/>
          <pc:sldMk cId="1286349833" sldId="292"/>
        </pc:sldMkLst>
      </pc:sldChg>
      <pc:sldChg chg="modSp">
        <pc:chgData name="Soelberg, Torbjoern" userId="S::torbjoern.soelberg@siemensgamesa.com::f3cb2cb1-006e-47a7-b330-9498e7ecbc1e" providerId="AD" clId="Web-{F525026D-14FF-4C6B-AE94-A5C8AB0837C9}" dt="2025-02-09T18:10:35.046" v="6" actId="20577"/>
        <pc:sldMkLst>
          <pc:docMk/>
          <pc:sldMk cId="4184456199" sldId="367"/>
        </pc:sldMkLst>
        <pc:spChg chg="mod">
          <ac:chgData name="Soelberg, Torbjoern" userId="S::torbjoern.soelberg@siemensgamesa.com::f3cb2cb1-006e-47a7-b330-9498e7ecbc1e" providerId="AD" clId="Web-{F525026D-14FF-4C6B-AE94-A5C8AB0837C9}" dt="2025-02-09T18:10:35.046" v="6" actId="20577"/>
          <ac:spMkLst>
            <pc:docMk/>
            <pc:sldMk cId="4184456199" sldId="367"/>
            <ac:spMk id="21" creationId="{123F96DC-1532-F13E-5F02-FDA00F553A84}"/>
          </ac:spMkLst>
        </pc:spChg>
      </pc:sldChg>
    </pc:docChg>
  </pc:docChgLst>
  <pc:docChgLst>
    <pc:chgData name="Lund, Vibeke (SGRE COG N P M&amp;H)" userId="S::vibeke.westenholz@siemensgamesa.com::be2c167c-cc21-4c23-92b1-78ba209712f0" providerId="AD" clId="Web-{DC4AE7BB-57C9-0B41-F5C1-FEB06F36BE0F}"/>
    <pc:docChg chg="modSld">
      <pc:chgData name="Lund, Vibeke (SGRE COG N P M&amp;H)" userId="S::vibeke.westenholz@siemensgamesa.com::be2c167c-cc21-4c23-92b1-78ba209712f0" providerId="AD" clId="Web-{DC4AE7BB-57C9-0B41-F5C1-FEB06F36BE0F}" dt="2023-02-06T06:24:29.139" v="3" actId="20577"/>
      <pc:docMkLst>
        <pc:docMk/>
      </pc:docMkLst>
      <pc:sldChg chg="modSp">
        <pc:chgData name="Lund, Vibeke (SGRE COG N P M&amp;H)" userId="S::vibeke.westenholz@siemensgamesa.com::be2c167c-cc21-4c23-92b1-78ba209712f0" providerId="AD" clId="Web-{DC4AE7BB-57C9-0B41-F5C1-FEB06F36BE0F}" dt="2023-02-06T06:24:29.139" v="3" actId="20577"/>
        <pc:sldMkLst>
          <pc:docMk/>
          <pc:sldMk cId="3563952106" sldId="284"/>
        </pc:sldMkLst>
      </pc:sldChg>
    </pc:docChg>
  </pc:docChgLst>
  <pc:docChgLst>
    <pc:chgData name="Wind-Larsen, Taus (SGRE TE N NT SYC&amp;MAT)" userId="909f4c56-f0bd-48e2-b5e6-c85fd07560b7" providerId="ADAL" clId="{2DABF693-B97D-4D4E-8522-93DA4DBD1CD0}"/>
    <pc:docChg chg="undo custSel addSld delSld modSld sldOrd modSection">
      <pc:chgData name="Wind-Larsen, Taus (SGRE TE N NT SYC&amp;MAT)" userId="909f4c56-f0bd-48e2-b5e6-c85fd07560b7" providerId="ADAL" clId="{2DABF693-B97D-4D4E-8522-93DA4DBD1CD0}" dt="2023-02-24T06:46:23.757" v="5774" actId="20577"/>
      <pc:docMkLst>
        <pc:docMk/>
      </pc:docMkLst>
      <pc:sldChg chg="modSp mod">
        <pc:chgData name="Wind-Larsen, Taus (SGRE TE N NT SYC&amp;MAT)" userId="909f4c56-f0bd-48e2-b5e6-c85fd07560b7" providerId="ADAL" clId="{2DABF693-B97D-4D4E-8522-93DA4DBD1CD0}" dt="2023-02-22T21:01:30.725" v="8" actId="20577"/>
        <pc:sldMkLst>
          <pc:docMk/>
          <pc:sldMk cId="3563952106" sldId="284"/>
        </pc:sldMkLst>
      </pc:sldChg>
      <pc:sldChg chg="delSp modSp mod delAnim">
        <pc:chgData name="Wind-Larsen, Taus (SGRE TE N NT SYC&amp;MAT)" userId="909f4c56-f0bd-48e2-b5e6-c85fd07560b7" providerId="ADAL" clId="{2DABF693-B97D-4D4E-8522-93DA4DBD1CD0}" dt="2023-02-22T21:23:30.872" v="2340" actId="1076"/>
        <pc:sldMkLst>
          <pc:docMk/>
          <pc:sldMk cId="1320544008" sldId="286"/>
        </pc:sldMkLst>
      </pc:sldChg>
      <pc:sldChg chg="modSp mod">
        <pc:chgData name="Wind-Larsen, Taus (SGRE TE N NT SYC&amp;MAT)" userId="909f4c56-f0bd-48e2-b5e6-c85fd07560b7" providerId="ADAL" clId="{2DABF693-B97D-4D4E-8522-93DA4DBD1CD0}" dt="2023-02-22T21:59:10.149" v="2553" actId="20577"/>
        <pc:sldMkLst>
          <pc:docMk/>
          <pc:sldMk cId="1286349833" sldId="292"/>
        </pc:sldMkLst>
      </pc:sldChg>
      <pc:sldChg chg="modSp mod">
        <pc:chgData name="Wind-Larsen, Taus (SGRE TE N NT SYC&amp;MAT)" userId="909f4c56-f0bd-48e2-b5e6-c85fd07560b7" providerId="ADAL" clId="{2DABF693-B97D-4D4E-8522-93DA4DBD1CD0}" dt="2023-02-22T21:31:20.402" v="2517" actId="14100"/>
        <pc:sldMkLst>
          <pc:docMk/>
          <pc:sldMk cId="1840042121" sldId="293"/>
        </pc:sldMkLst>
      </pc:sldChg>
      <pc:sldChg chg="modSp mod">
        <pc:chgData name="Wind-Larsen, Taus (SGRE TE N NT SYC&amp;MAT)" userId="909f4c56-f0bd-48e2-b5e6-c85fd07560b7" providerId="ADAL" clId="{2DABF693-B97D-4D4E-8522-93DA4DBD1CD0}" dt="2023-02-24T06:46:23.757" v="5774" actId="20577"/>
        <pc:sldMkLst>
          <pc:docMk/>
          <pc:sldMk cId="2483631185" sldId="294"/>
        </pc:sldMkLst>
      </pc:sldChg>
      <pc:sldChg chg="modSp mod">
        <pc:chgData name="Wind-Larsen, Taus (SGRE TE N NT SYC&amp;MAT)" userId="909f4c56-f0bd-48e2-b5e6-c85fd07560b7" providerId="ADAL" clId="{2DABF693-B97D-4D4E-8522-93DA4DBD1CD0}" dt="2023-02-23T17:43:51.699" v="5679" actId="20577"/>
        <pc:sldMkLst>
          <pc:docMk/>
          <pc:sldMk cId="284083800" sldId="310"/>
        </pc:sldMkLst>
      </pc:sldChg>
      <pc:sldChg chg="addSp delSp modSp mod">
        <pc:chgData name="Wind-Larsen, Taus (SGRE TE N NT SYC&amp;MAT)" userId="909f4c56-f0bd-48e2-b5e6-c85fd07560b7" providerId="ADAL" clId="{2DABF693-B97D-4D4E-8522-93DA4DBD1CD0}" dt="2023-02-22T22:50:54.562" v="5475"/>
        <pc:sldMkLst>
          <pc:docMk/>
          <pc:sldMk cId="3672746191" sldId="313"/>
        </pc:sldMkLst>
      </pc:sldChg>
      <pc:sldChg chg="addSp delSp modSp mod">
        <pc:chgData name="Wind-Larsen, Taus (SGRE TE N NT SYC&amp;MAT)" userId="909f4c56-f0bd-48e2-b5e6-c85fd07560b7" providerId="ADAL" clId="{2DABF693-B97D-4D4E-8522-93DA4DBD1CD0}" dt="2023-02-22T22:51:29.827" v="5600"/>
        <pc:sldMkLst>
          <pc:docMk/>
          <pc:sldMk cId="1209066160" sldId="314"/>
        </pc:sldMkLst>
      </pc:sldChg>
      <pc:sldChg chg="addSp delSp modSp mod">
        <pc:chgData name="Wind-Larsen, Taus (SGRE TE N NT SYC&amp;MAT)" userId="909f4c56-f0bd-48e2-b5e6-c85fd07560b7" providerId="ADAL" clId="{2DABF693-B97D-4D4E-8522-93DA4DBD1CD0}" dt="2023-02-22T22:45:54.027" v="4135"/>
        <pc:sldMkLst>
          <pc:docMk/>
          <pc:sldMk cId="995067089" sldId="336"/>
        </pc:sldMkLst>
      </pc:sldChg>
      <pc:sldChg chg="modSp mod">
        <pc:chgData name="Wind-Larsen, Taus (SGRE TE N NT SYC&amp;MAT)" userId="909f4c56-f0bd-48e2-b5e6-c85fd07560b7" providerId="ADAL" clId="{2DABF693-B97D-4D4E-8522-93DA4DBD1CD0}" dt="2023-02-22T21:17:46.962" v="2308" actId="1076"/>
        <pc:sldMkLst>
          <pc:docMk/>
          <pc:sldMk cId="2076336558" sldId="350"/>
        </pc:sldMkLst>
      </pc:sldChg>
      <pc:sldChg chg="addSp delSp modSp new add mod">
        <pc:chgData name="Wind-Larsen, Taus (SGRE TE N NT SYC&amp;MAT)" userId="909f4c56-f0bd-48e2-b5e6-c85fd07560b7" providerId="ADAL" clId="{2DABF693-B97D-4D4E-8522-93DA4DBD1CD0}" dt="2023-02-22T21:17:31.673" v="2305" actId="14100"/>
        <pc:sldMkLst>
          <pc:docMk/>
          <pc:sldMk cId="4192225459" sldId="351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24:07.783" v="2364" actId="20577"/>
        <pc:sldMkLst>
          <pc:docMk/>
          <pc:sldMk cId="172667756" sldId="352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26:25.335" v="2409" actId="20577"/>
        <pc:sldMkLst>
          <pc:docMk/>
          <pc:sldMk cId="1704835808" sldId="353"/>
        </pc:sldMkLst>
      </pc:sldChg>
      <pc:sldChg chg="modSp add mod ord">
        <pc:chgData name="Wind-Larsen, Taus (SGRE TE N NT SYC&amp;MAT)" userId="909f4c56-f0bd-48e2-b5e6-c85fd07560b7" providerId="ADAL" clId="{2DABF693-B97D-4D4E-8522-93DA4DBD1CD0}" dt="2023-02-22T21:26:37.802" v="2431" actId="20577"/>
        <pc:sldMkLst>
          <pc:docMk/>
          <pc:sldMk cId="746358243" sldId="354"/>
        </pc:sldMkLst>
      </pc:sldChg>
      <pc:sldChg chg="modSp add del mod">
        <pc:chgData name="Wind-Larsen, Taus (SGRE TE N NT SYC&amp;MAT)" userId="909f4c56-f0bd-48e2-b5e6-c85fd07560b7" providerId="ADAL" clId="{2DABF693-B97D-4D4E-8522-93DA4DBD1CD0}" dt="2023-02-22T21:24:39.281" v="2374"/>
        <pc:sldMkLst>
          <pc:docMk/>
          <pc:sldMk cId="3227507850" sldId="354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26:52.712" v="2452" actId="20577"/>
        <pc:sldMkLst>
          <pc:docMk/>
          <pc:sldMk cId="818019181" sldId="355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26:58.570" v="2453" actId="113"/>
        <pc:sldMkLst>
          <pc:docMk/>
          <pc:sldMk cId="356755605" sldId="356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27:12.091" v="2456" actId="113"/>
        <pc:sldMkLst>
          <pc:docMk/>
          <pc:sldMk cId="2176896723" sldId="357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27:34.836" v="2457" actId="113"/>
        <pc:sldMkLst>
          <pc:docMk/>
          <pc:sldMk cId="843878808" sldId="358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27:53.315" v="2458" actId="113"/>
        <pc:sldMkLst>
          <pc:docMk/>
          <pc:sldMk cId="1581570990" sldId="359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31:27.531" v="2518" actId="113"/>
        <pc:sldMkLst>
          <pc:docMk/>
          <pc:sldMk cId="1781487789" sldId="360"/>
        </pc:sldMkLst>
      </pc:sldChg>
      <pc:sldChg chg="add del">
        <pc:chgData name="Wind-Larsen, Taus (SGRE TE N NT SYC&amp;MAT)" userId="909f4c56-f0bd-48e2-b5e6-c85fd07560b7" providerId="ADAL" clId="{2DABF693-B97D-4D4E-8522-93DA4DBD1CD0}" dt="2023-02-22T21:27:06.592" v="2455"/>
        <pc:sldMkLst>
          <pc:docMk/>
          <pc:sldMk cId="2019097450" sldId="361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30:10.761" v="2508" actId="20577"/>
        <pc:sldMkLst>
          <pc:docMk/>
          <pc:sldMk cId="2719752945" sldId="361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30:57.824" v="2515" actId="113"/>
        <pc:sldMkLst>
          <pc:docMk/>
          <pc:sldMk cId="2387251017" sldId="362"/>
        </pc:sldMkLst>
      </pc:sldChg>
      <pc:sldChg chg="add del">
        <pc:chgData name="Wind-Larsen, Taus (SGRE TE N NT SYC&amp;MAT)" userId="909f4c56-f0bd-48e2-b5e6-c85fd07560b7" providerId="ADAL" clId="{2DABF693-B97D-4D4E-8522-93DA4DBD1CD0}" dt="2023-02-22T21:30:47.187" v="2512"/>
        <pc:sldMkLst>
          <pc:docMk/>
          <pc:sldMk cId="597029934" sldId="363"/>
        </pc:sldMkLst>
      </pc:sldChg>
    </pc:docChg>
  </pc:docChgLst>
  <pc:docChgLst>
    <pc:chgData name="Wind-Larsen, Taus (SGRE TE N NT SYC&amp;MAT)" userId="S::taus.wind-larsen@siemensgamesa.com::909f4c56-f0bd-48e2-b5e6-c85fd07560b7" providerId="AD" clId="Web-{52C92074-C7C9-7226-A6EC-56920EA4BDB6}"/>
    <pc:docChg chg="modSld">
      <pc:chgData name="Wind-Larsen, Taus (SGRE TE N NT SYC&amp;MAT)" userId="S::taus.wind-larsen@siemensgamesa.com::909f4c56-f0bd-48e2-b5e6-c85fd07560b7" providerId="AD" clId="Web-{52C92074-C7C9-7226-A6EC-56920EA4BDB6}" dt="2023-02-23T13:53:59.458" v="50" actId="20577"/>
      <pc:docMkLst>
        <pc:docMk/>
      </pc:docMkLst>
      <pc:sldChg chg="modSp">
        <pc:chgData name="Wind-Larsen, Taus (SGRE TE N NT SYC&amp;MAT)" userId="S::taus.wind-larsen@siemensgamesa.com::909f4c56-f0bd-48e2-b5e6-c85fd07560b7" providerId="AD" clId="Web-{52C92074-C7C9-7226-A6EC-56920EA4BDB6}" dt="2023-02-23T13:53:59.458" v="50" actId="20577"/>
        <pc:sldMkLst>
          <pc:docMk/>
          <pc:sldMk cId="3672746191" sldId="313"/>
        </pc:sldMkLst>
      </pc:sldChg>
    </pc:docChg>
  </pc:docChgLst>
  <pc:docChgLst>
    <pc:chgData name="Lund, Vibeke" userId="S::vibeke.westenholz@siemensgamesa.com::be2c167c-cc21-4c23-92b1-78ba209712f0" providerId="AD" clId="Web-{45BF0A6E-3347-1638-EDD6-BA6F4976692A}"/>
    <pc:docChg chg="addSld delSld modSld sldOrd modSection">
      <pc:chgData name="Lund, Vibeke" userId="S::vibeke.westenholz@siemensgamesa.com::be2c167c-cc21-4c23-92b1-78ba209712f0" providerId="AD" clId="Web-{45BF0A6E-3347-1638-EDD6-BA6F4976692A}" dt="2025-02-18T14:11:54.592" v="74" actId="20577"/>
      <pc:docMkLst>
        <pc:docMk/>
      </pc:docMkLst>
      <pc:sldChg chg="modSp add">
        <pc:chgData name="Lund, Vibeke" userId="S::vibeke.westenholz@siemensgamesa.com::be2c167c-cc21-4c23-92b1-78ba209712f0" providerId="AD" clId="Web-{45BF0A6E-3347-1638-EDD6-BA6F4976692A}" dt="2025-02-18T14:07:50.599" v="67" actId="20577"/>
        <pc:sldMkLst>
          <pc:docMk/>
          <pc:sldMk cId="3672746191" sldId="313"/>
        </pc:sldMkLst>
        <pc:spChg chg="mod">
          <ac:chgData name="Lund, Vibeke" userId="S::vibeke.westenholz@siemensgamesa.com::be2c167c-cc21-4c23-92b1-78ba209712f0" providerId="AD" clId="Web-{45BF0A6E-3347-1638-EDD6-BA6F4976692A}" dt="2025-02-18T14:07:50.599" v="67" actId="20577"/>
          <ac:spMkLst>
            <pc:docMk/>
            <pc:sldMk cId="3672746191" sldId="313"/>
            <ac:spMk id="4" creationId="{7B1880A8-F560-4971-93F0-7C14A34CF76C}"/>
          </ac:spMkLst>
        </pc:spChg>
      </pc:sldChg>
      <pc:sldChg chg="add del ord">
        <pc:chgData name="Lund, Vibeke" userId="S::vibeke.westenholz@siemensgamesa.com::be2c167c-cc21-4c23-92b1-78ba209712f0" providerId="AD" clId="Web-{45BF0A6E-3347-1638-EDD6-BA6F4976692A}" dt="2025-02-18T14:05:58.752" v="64"/>
        <pc:sldMkLst>
          <pc:docMk/>
          <pc:sldMk cId="1209066160" sldId="314"/>
        </pc:sldMkLst>
      </pc:sldChg>
      <pc:sldChg chg="modSp add ord">
        <pc:chgData name="Lund, Vibeke" userId="S::vibeke.westenholz@siemensgamesa.com::be2c167c-cc21-4c23-92b1-78ba209712f0" providerId="AD" clId="Web-{45BF0A6E-3347-1638-EDD6-BA6F4976692A}" dt="2025-02-18T14:11:54.592" v="74" actId="20577"/>
        <pc:sldMkLst>
          <pc:docMk/>
          <pc:sldMk cId="995067089" sldId="336"/>
        </pc:sldMkLst>
        <pc:spChg chg="mod">
          <ac:chgData name="Lund, Vibeke" userId="S::vibeke.westenholz@siemensgamesa.com::be2c167c-cc21-4c23-92b1-78ba209712f0" providerId="AD" clId="Web-{45BF0A6E-3347-1638-EDD6-BA6F4976692A}" dt="2025-02-18T14:11:54.592" v="74" actId="20577"/>
          <ac:spMkLst>
            <pc:docMk/>
            <pc:sldMk cId="995067089" sldId="336"/>
            <ac:spMk id="3" creationId="{8E0AAC11-3202-46A9-8EB4-8DF0337F24B7}"/>
          </ac:spMkLst>
        </pc:spChg>
        <pc:spChg chg="mod">
          <ac:chgData name="Lund, Vibeke" userId="S::vibeke.westenholz@siemensgamesa.com::be2c167c-cc21-4c23-92b1-78ba209712f0" providerId="AD" clId="Web-{45BF0A6E-3347-1638-EDD6-BA6F4976692A}" dt="2025-02-18T14:07:46.802" v="65" actId="20577"/>
          <ac:spMkLst>
            <pc:docMk/>
            <pc:sldMk cId="995067089" sldId="336"/>
            <ac:spMk id="4" creationId="{7B1880A8-F560-4971-93F0-7C14A34CF76C}"/>
          </ac:spMkLst>
        </pc:spChg>
      </pc:sldChg>
      <pc:sldChg chg="modSp add ord replId">
        <pc:chgData name="Lund, Vibeke" userId="S::vibeke.westenholz@siemensgamesa.com::be2c167c-cc21-4c23-92b1-78ba209712f0" providerId="AD" clId="Web-{45BF0A6E-3347-1638-EDD6-BA6F4976692A}" dt="2025-02-18T14:00:02.506" v="5"/>
        <pc:sldMkLst>
          <pc:docMk/>
          <pc:sldMk cId="3900554288" sldId="381"/>
        </pc:sldMkLst>
        <pc:spChg chg="mod">
          <ac:chgData name="Lund, Vibeke" userId="S::vibeke.westenholz@siemensgamesa.com::be2c167c-cc21-4c23-92b1-78ba209712f0" providerId="AD" clId="Web-{45BF0A6E-3347-1638-EDD6-BA6F4976692A}" dt="2025-02-18T13:59:58.194" v="3" actId="20577"/>
          <ac:spMkLst>
            <pc:docMk/>
            <pc:sldMk cId="3900554288" sldId="381"/>
            <ac:spMk id="6" creationId="{D5F20845-E828-D679-0616-97151C9D003B}"/>
          </ac:spMkLst>
        </pc:spChg>
      </pc:sldChg>
      <pc:sldChg chg="addSp delSp modSp new del mod modClrScheme chgLayout">
        <pc:chgData name="Lund, Vibeke" userId="S::vibeke.westenholz@siemensgamesa.com::be2c167c-cc21-4c23-92b1-78ba209712f0" providerId="AD" clId="Web-{45BF0A6E-3347-1638-EDD6-BA6F4976692A}" dt="2025-02-18T14:05:18.813" v="62"/>
        <pc:sldMkLst>
          <pc:docMk/>
          <pc:sldMk cId="2807519638" sldId="382"/>
        </pc:sldMkLst>
      </pc:sldChg>
      <pc:sldChg chg="modSp add">
        <pc:chgData name="Lund, Vibeke" userId="S::vibeke.westenholz@siemensgamesa.com::be2c167c-cc21-4c23-92b1-78ba209712f0" providerId="AD" clId="Web-{45BF0A6E-3347-1638-EDD6-BA6F4976692A}" dt="2025-02-18T14:07:54.834" v="68" actId="20577"/>
        <pc:sldMkLst>
          <pc:docMk/>
          <pc:sldMk cId="2852258749" sldId="383"/>
        </pc:sldMkLst>
        <pc:spChg chg="mod">
          <ac:chgData name="Lund, Vibeke" userId="S::vibeke.westenholz@siemensgamesa.com::be2c167c-cc21-4c23-92b1-78ba209712f0" providerId="AD" clId="Web-{45BF0A6E-3347-1638-EDD6-BA6F4976692A}" dt="2025-02-18T14:07:54.834" v="68" actId="20577"/>
          <ac:spMkLst>
            <pc:docMk/>
            <pc:sldMk cId="2852258749" sldId="383"/>
            <ac:spMk id="4" creationId="{7B1880A8-F560-4971-93F0-7C14A34CF76C}"/>
          </ac:spMkLst>
        </pc:spChg>
      </pc:sldChg>
      <pc:sldChg chg="addSp delSp modSp new del mod modClrScheme chgLayout">
        <pc:chgData name="Lund, Vibeke" userId="S::vibeke.westenholz@siemensgamesa.com::be2c167c-cc21-4c23-92b1-78ba209712f0" providerId="AD" clId="Web-{45BF0A6E-3347-1638-EDD6-BA6F4976692A}" dt="2025-02-18T14:04:56.766" v="60"/>
        <pc:sldMkLst>
          <pc:docMk/>
          <pc:sldMk cId="3939504697" sldId="383"/>
        </pc:sldMkLst>
      </pc:sldChg>
      <pc:sldChg chg="delSp modSp new del mod modClrScheme chgLayout">
        <pc:chgData name="Lund, Vibeke" userId="S::vibeke.westenholz@siemensgamesa.com::be2c167c-cc21-4c23-92b1-78ba209712f0" providerId="AD" clId="Web-{45BF0A6E-3347-1638-EDD6-BA6F4976692A}" dt="2025-02-18T14:03:08.919" v="49"/>
        <pc:sldMkLst>
          <pc:docMk/>
          <pc:sldMk cId="3578468563" sldId="384"/>
        </pc:sldMkLst>
      </pc:sldChg>
    </pc:docChg>
  </pc:docChgLst>
  <pc:docChgLst>
    <pc:chgData name="Wind-Larsen, Taus (SGRE TE N NT SYC&amp;MAT)" userId="909f4c56-f0bd-48e2-b5e6-c85fd07560b7" providerId="ADAL" clId="{3AF0A7A4-73B4-4EC6-868F-68D17D8C32C6}"/>
    <pc:docChg chg="custSel addSld delSld modSld sldOrd modSection replTag">
      <pc:chgData name="Wind-Larsen, Taus (SGRE TE N NT SYC&amp;MAT)" userId="909f4c56-f0bd-48e2-b5e6-c85fd07560b7" providerId="ADAL" clId="{3AF0A7A4-73B4-4EC6-868F-68D17D8C32C6}" dt="2024-02-22T19:59:53.631" v="1153" actId="20577"/>
      <pc:docMkLst>
        <pc:docMk/>
      </pc:docMkLst>
      <pc:sldChg chg="modSp mod">
        <pc:chgData name="Wind-Larsen, Taus (SGRE TE N NT SYC&amp;MAT)" userId="909f4c56-f0bd-48e2-b5e6-c85fd07560b7" providerId="ADAL" clId="{3AF0A7A4-73B4-4EC6-868F-68D17D8C32C6}" dt="2024-02-02T08:12:28.498" v="1" actId="20577"/>
        <pc:sldMkLst>
          <pc:docMk/>
          <pc:sldMk cId="1618370001" sldId="271"/>
        </pc:sldMkLst>
      </pc:sldChg>
      <pc:sldChg chg="modSp mod">
        <pc:chgData name="Wind-Larsen, Taus (SGRE TE N NT SYC&amp;MAT)" userId="909f4c56-f0bd-48e2-b5e6-c85fd07560b7" providerId="ADAL" clId="{3AF0A7A4-73B4-4EC6-868F-68D17D8C32C6}" dt="2024-02-02T08:52:33.020" v="228" actId="20577"/>
        <pc:sldMkLst>
          <pc:docMk/>
          <pc:sldMk cId="3563952106" sldId="284"/>
        </pc:sldMkLst>
      </pc:sldChg>
      <pc:sldChg chg="modSp">
        <pc:chgData name="Wind-Larsen, Taus (SGRE TE N NT SYC&amp;MAT)" userId="909f4c56-f0bd-48e2-b5e6-c85fd07560b7" providerId="ADAL" clId="{3AF0A7A4-73B4-4EC6-868F-68D17D8C32C6}" dt="2024-02-20T14:10:01.432" v="237" actId="20577"/>
        <pc:sldMkLst>
          <pc:docMk/>
          <pc:sldMk cId="1320544008" sldId="286"/>
        </pc:sldMkLst>
      </pc:sldChg>
      <pc:sldChg chg="modSp mod">
        <pc:chgData name="Wind-Larsen, Taus (SGRE TE N NT SYC&amp;MAT)" userId="909f4c56-f0bd-48e2-b5e6-c85fd07560b7" providerId="ADAL" clId="{3AF0A7A4-73B4-4EC6-868F-68D17D8C32C6}" dt="2024-02-20T14:35:16.018" v="273" actId="20577"/>
        <pc:sldMkLst>
          <pc:docMk/>
          <pc:sldMk cId="1286349833" sldId="292"/>
        </pc:sldMkLst>
      </pc:sldChg>
      <pc:sldChg chg="delSp modSp mod">
        <pc:chgData name="Wind-Larsen, Taus (SGRE TE N NT SYC&amp;MAT)" userId="909f4c56-f0bd-48e2-b5e6-c85fd07560b7" providerId="ADAL" clId="{3AF0A7A4-73B4-4EC6-868F-68D17D8C32C6}" dt="2024-02-20T14:40:13.892" v="322" actId="478"/>
        <pc:sldMkLst>
          <pc:docMk/>
          <pc:sldMk cId="1840042121" sldId="293"/>
        </pc:sldMkLst>
      </pc:sldChg>
      <pc:sldChg chg="modSp mod">
        <pc:chgData name="Wind-Larsen, Taus (SGRE TE N NT SYC&amp;MAT)" userId="909f4c56-f0bd-48e2-b5e6-c85fd07560b7" providerId="ADAL" clId="{3AF0A7A4-73B4-4EC6-868F-68D17D8C32C6}" dt="2024-02-22T19:59:53.631" v="1153" actId="20577"/>
        <pc:sldMkLst>
          <pc:docMk/>
          <pc:sldMk cId="2483631185" sldId="294"/>
        </pc:sldMkLst>
      </pc:sldChg>
      <pc:sldChg chg="modSp mod">
        <pc:chgData name="Wind-Larsen, Taus (SGRE TE N NT SYC&amp;MAT)" userId="909f4c56-f0bd-48e2-b5e6-c85fd07560b7" providerId="ADAL" clId="{3AF0A7A4-73B4-4EC6-868F-68D17D8C32C6}" dt="2024-02-20T21:37:25.641" v="598" actId="207"/>
        <pc:sldMkLst>
          <pc:docMk/>
          <pc:sldMk cId="1468755633" sldId="299"/>
        </pc:sldMkLst>
      </pc:sldChg>
      <pc:sldChg chg="modSp mod">
        <pc:chgData name="Wind-Larsen, Taus (SGRE TE N NT SYC&amp;MAT)" userId="909f4c56-f0bd-48e2-b5e6-c85fd07560b7" providerId="ADAL" clId="{3AF0A7A4-73B4-4EC6-868F-68D17D8C32C6}" dt="2024-02-22T19:19:16.772" v="966" actId="13926"/>
        <pc:sldMkLst>
          <pc:docMk/>
          <pc:sldMk cId="284083800" sldId="310"/>
        </pc:sldMkLst>
      </pc:sldChg>
      <pc:sldChg chg="modSp mod">
        <pc:chgData name="Wind-Larsen, Taus (SGRE TE N NT SYC&amp;MAT)" userId="909f4c56-f0bd-48e2-b5e6-c85fd07560b7" providerId="ADAL" clId="{3AF0A7A4-73B4-4EC6-868F-68D17D8C32C6}" dt="2024-02-22T15:06:52.951" v="851" actId="313"/>
        <pc:sldMkLst>
          <pc:docMk/>
          <pc:sldMk cId="3672746191" sldId="313"/>
        </pc:sldMkLst>
      </pc:sldChg>
      <pc:sldChg chg="addSp delSp modSp mod">
        <pc:chgData name="Wind-Larsen, Taus (SGRE TE N NT SYC&amp;MAT)" userId="909f4c56-f0bd-48e2-b5e6-c85fd07560b7" providerId="ADAL" clId="{3AF0A7A4-73B4-4EC6-868F-68D17D8C32C6}" dt="2024-02-20T21:43:26.374" v="633" actId="20577"/>
        <pc:sldMkLst>
          <pc:docMk/>
          <pc:sldMk cId="1209066160" sldId="314"/>
        </pc:sldMkLst>
      </pc:sldChg>
      <pc:sldChg chg="modSp mod">
        <pc:chgData name="Wind-Larsen, Taus (SGRE TE N NT SYC&amp;MAT)" userId="909f4c56-f0bd-48e2-b5e6-c85fd07560b7" providerId="ADAL" clId="{3AF0A7A4-73B4-4EC6-868F-68D17D8C32C6}" dt="2024-02-20T14:13:20.116" v="239" actId="14100"/>
        <pc:sldMkLst>
          <pc:docMk/>
          <pc:sldMk cId="3047106097" sldId="335"/>
        </pc:sldMkLst>
      </pc:sldChg>
      <pc:sldChg chg="modSp mod">
        <pc:chgData name="Wind-Larsen, Taus (SGRE TE N NT SYC&amp;MAT)" userId="909f4c56-f0bd-48e2-b5e6-c85fd07560b7" providerId="ADAL" clId="{3AF0A7A4-73B4-4EC6-868F-68D17D8C32C6}" dt="2024-02-20T14:22:43.710" v="265"/>
        <pc:sldMkLst>
          <pc:docMk/>
          <pc:sldMk cId="995067089" sldId="336"/>
        </pc:sldMkLst>
      </pc:sldChg>
      <pc:sldChg chg="modSp mod">
        <pc:chgData name="Wind-Larsen, Taus (SGRE TE N NT SYC&amp;MAT)" userId="909f4c56-f0bd-48e2-b5e6-c85fd07560b7" providerId="ADAL" clId="{3AF0A7A4-73B4-4EC6-868F-68D17D8C32C6}" dt="2024-02-20T21:35:50.686" v="587" actId="20577"/>
        <pc:sldMkLst>
          <pc:docMk/>
          <pc:sldMk cId="1405606700" sldId="365"/>
        </pc:sldMkLst>
      </pc:sldChg>
      <pc:sldChg chg="modSp mod">
        <pc:chgData name="Wind-Larsen, Taus (SGRE TE N NT SYC&amp;MAT)" userId="909f4c56-f0bd-48e2-b5e6-c85fd07560b7" providerId="ADAL" clId="{3AF0A7A4-73B4-4EC6-868F-68D17D8C32C6}" dt="2024-02-20T14:19:07.254" v="263" actId="20577"/>
        <pc:sldMkLst>
          <pc:docMk/>
          <pc:sldMk cId="1005772816" sldId="371"/>
        </pc:sldMkLst>
      </pc:sldChg>
      <pc:sldChg chg="modSp mod">
        <pc:chgData name="Wind-Larsen, Taus (SGRE TE N NT SYC&amp;MAT)" userId="909f4c56-f0bd-48e2-b5e6-c85fd07560b7" providerId="ADAL" clId="{3AF0A7A4-73B4-4EC6-868F-68D17D8C32C6}" dt="2024-02-20T14:14:01.088" v="240" actId="20577"/>
        <pc:sldMkLst>
          <pc:docMk/>
          <pc:sldMk cId="192227631" sldId="379"/>
        </pc:sldMkLst>
      </pc:sldChg>
      <pc:sldChg chg="mod ord modTransition modShow">
        <pc:chgData name="Wind-Larsen, Taus (SGRE TE N NT SYC&amp;MAT)" userId="909f4c56-f0bd-48e2-b5e6-c85fd07560b7" providerId="ADAL" clId="{3AF0A7A4-73B4-4EC6-868F-68D17D8C32C6}" dt="2024-02-20T14:37:33.948" v="320"/>
        <pc:sldMkLst>
          <pc:docMk/>
          <pc:sldMk cId="3833803168" sldId="380"/>
        </pc:sldMkLst>
      </pc:sldChg>
      <pc:sldChg chg="addSp delSp modSp add del mod">
        <pc:chgData name="Wind-Larsen, Taus (SGRE TE N NT SYC&amp;MAT)" userId="909f4c56-f0bd-48e2-b5e6-c85fd07560b7" providerId="ADAL" clId="{3AF0A7A4-73B4-4EC6-868F-68D17D8C32C6}" dt="2024-02-20T21:35:00.470" v="572" actId="2696"/>
        <pc:sldMkLst>
          <pc:docMk/>
          <pc:sldMk cId="3317280812" sldId="383"/>
        </pc:sldMkLst>
      </pc:sldChg>
      <pc:sldChg chg="modSp add del mod">
        <pc:chgData name="Wind-Larsen, Taus (SGRE TE N NT SYC&amp;MAT)" userId="909f4c56-f0bd-48e2-b5e6-c85fd07560b7" providerId="ADAL" clId="{3AF0A7A4-73B4-4EC6-868F-68D17D8C32C6}" dt="2024-02-20T21:36:39.227" v="591" actId="47"/>
        <pc:sldMkLst>
          <pc:docMk/>
          <pc:sldMk cId="4236580222" sldId="383"/>
        </pc:sldMkLst>
      </pc:sldChg>
    </pc:docChg>
  </pc:docChgLst>
  <pc:docChgLst>
    <pc:chgData name="Simmelkjaer, Pia Butzkowsky (SGRE SE SP&amp;S SO SOM NE&amp;ME)" userId="S::pia.simmelkjaer@siemensgamesa.com::ecd52c23-7eb3-48b2-8414-fa14d3e833f8" providerId="AD" clId="Web-{AE4BE878-7A67-CEDB-52BD-7BA5E1A612E3}"/>
    <pc:docChg chg="modSld">
      <pc:chgData name="Simmelkjaer, Pia Butzkowsky (SGRE SE SP&amp;S SO SOM NE&amp;ME)" userId="S::pia.simmelkjaer@siemensgamesa.com::ecd52c23-7eb3-48b2-8414-fa14d3e833f8" providerId="AD" clId="Web-{AE4BE878-7A67-CEDB-52BD-7BA5E1A612E3}" dt="2023-02-03T13:58:49.712" v="210" actId="20577"/>
      <pc:docMkLst>
        <pc:docMk/>
      </pc:docMkLst>
      <pc:sldChg chg="addSp delSp modSp">
        <pc:chgData name="Simmelkjaer, Pia Butzkowsky (SGRE SE SP&amp;S SO SOM NE&amp;ME)" userId="S::pia.simmelkjaer@siemensgamesa.com::ecd52c23-7eb3-48b2-8414-fa14d3e833f8" providerId="AD" clId="Web-{AE4BE878-7A67-CEDB-52BD-7BA5E1A612E3}" dt="2023-02-03T13:58:49.712" v="210" actId="20577"/>
        <pc:sldMkLst>
          <pc:docMk/>
          <pc:sldMk cId="3844324542" sldId="347"/>
        </pc:sldMkLst>
      </pc:sldChg>
    </pc:docChg>
  </pc:docChgLst>
  <pc:docChgLst>
    <pc:chgData name="Lund, Vibeke (SGRE COG N P M&amp;H)" userId="S::vibeke.westenholz@siemensgamesa.com::be2c167c-cc21-4c23-92b1-78ba209712f0" providerId="AD" clId="Web-{A690CCD6-FD13-994A-AC13-97DB7C625E9A}"/>
    <pc:docChg chg="delSld modSld modSection">
      <pc:chgData name="Lund, Vibeke (SGRE COG N P M&amp;H)" userId="S::vibeke.westenholz@siemensgamesa.com::be2c167c-cc21-4c23-92b1-78ba209712f0" providerId="AD" clId="Web-{A690CCD6-FD13-994A-AC13-97DB7C625E9A}" dt="2023-02-03T16:44:29.891" v="70" actId="20577"/>
      <pc:docMkLst>
        <pc:docMk/>
      </pc:docMkLst>
      <pc:sldChg chg="addSp modSp del">
        <pc:chgData name="Lund, Vibeke (SGRE COG N P M&amp;H)" userId="S::vibeke.westenholz@siemensgamesa.com::be2c167c-cc21-4c23-92b1-78ba209712f0" providerId="AD" clId="Web-{A690CCD6-FD13-994A-AC13-97DB7C625E9A}" dt="2023-02-03T16:40:00.740" v="55"/>
        <pc:sldMkLst>
          <pc:docMk/>
          <pc:sldMk cId="558325371" sldId="322"/>
        </pc:sldMkLst>
      </pc:sldChg>
      <pc:sldChg chg="modSp">
        <pc:chgData name="Lund, Vibeke (SGRE COG N P M&amp;H)" userId="S::vibeke.westenholz@siemensgamesa.com::be2c167c-cc21-4c23-92b1-78ba209712f0" providerId="AD" clId="Web-{A690CCD6-FD13-994A-AC13-97DB7C625E9A}" dt="2023-02-03T16:44:29.891" v="70" actId="20577"/>
        <pc:sldMkLst>
          <pc:docMk/>
          <pc:sldMk cId="3870458832" sldId="348"/>
        </pc:sldMkLst>
      </pc:sldChg>
    </pc:docChg>
  </pc:docChgLst>
  <pc:docChgLst>
    <pc:chgData name="Wind-Larsen, Taus (SGRE TE N NT SYC&amp;MAT)" userId="S::taus.wind-larsen@siemensgamesa.com::909f4c56-f0bd-48e2-b5e6-c85fd07560b7" providerId="AD" clId="Web-{76DFC972-2FBE-CFF4-3A78-85B972111E7D}"/>
    <pc:docChg chg="modSld">
      <pc:chgData name="Wind-Larsen, Taus (SGRE TE N NT SYC&amp;MAT)" userId="S::taus.wind-larsen@siemensgamesa.com::909f4c56-f0bd-48e2-b5e6-c85fd07560b7" providerId="AD" clId="Web-{76DFC972-2FBE-CFF4-3A78-85B972111E7D}" dt="2023-02-03T15:49:01.406" v="78" actId="20577"/>
      <pc:docMkLst>
        <pc:docMk/>
      </pc:docMkLst>
      <pc:sldChg chg="delSp modSp">
        <pc:chgData name="Wind-Larsen, Taus (SGRE TE N NT SYC&amp;MAT)" userId="S::taus.wind-larsen@siemensgamesa.com::909f4c56-f0bd-48e2-b5e6-c85fd07560b7" providerId="AD" clId="Web-{76DFC972-2FBE-CFF4-3A78-85B972111E7D}" dt="2023-02-03T15:48:44.030" v="74" actId="20577"/>
        <pc:sldMkLst>
          <pc:docMk/>
          <pc:sldMk cId="1468755633" sldId="299"/>
        </pc:sldMkLst>
      </pc:sldChg>
      <pc:sldChg chg="modSp">
        <pc:chgData name="Wind-Larsen, Taus (SGRE TE N NT SYC&amp;MAT)" userId="S::taus.wind-larsen@siemensgamesa.com::909f4c56-f0bd-48e2-b5e6-c85fd07560b7" providerId="AD" clId="Web-{76DFC972-2FBE-CFF4-3A78-85B972111E7D}" dt="2023-02-03T13:00:11.416" v="11" actId="1076"/>
        <pc:sldMkLst>
          <pc:docMk/>
          <pc:sldMk cId="3672746191" sldId="313"/>
        </pc:sldMkLst>
      </pc:sldChg>
      <pc:sldChg chg="modSp">
        <pc:chgData name="Wind-Larsen, Taus (SGRE TE N NT SYC&amp;MAT)" userId="S::taus.wind-larsen@siemensgamesa.com::909f4c56-f0bd-48e2-b5e6-c85fd07560b7" providerId="AD" clId="Web-{76DFC972-2FBE-CFF4-3A78-85B972111E7D}" dt="2023-02-03T15:49:01.406" v="78" actId="20577"/>
        <pc:sldMkLst>
          <pc:docMk/>
          <pc:sldMk cId="995067089" sldId="336"/>
        </pc:sldMkLst>
      </pc:sldChg>
    </pc:docChg>
  </pc:docChgLst>
  <pc:docChgLst>
    <pc:chgData name="Lund, Vibeke" userId="S::vibeke.westenholz@siemensgamesa.com::be2c167c-cc21-4c23-92b1-78ba209712f0" providerId="AD" clId="Web-{B1385AC4-9171-70B9-4190-813DFBCDA7A4}"/>
    <pc:docChg chg="modSld">
      <pc:chgData name="Lund, Vibeke" userId="S::vibeke.westenholz@siemensgamesa.com::be2c167c-cc21-4c23-92b1-78ba209712f0" providerId="AD" clId="Web-{B1385AC4-9171-70B9-4190-813DFBCDA7A4}" dt="2025-01-20T07:08:57.462" v="5" actId="20577"/>
      <pc:docMkLst>
        <pc:docMk/>
      </pc:docMkLst>
      <pc:sldChg chg="modSp">
        <pc:chgData name="Lund, Vibeke" userId="S::vibeke.westenholz@siemensgamesa.com::be2c167c-cc21-4c23-92b1-78ba209712f0" providerId="AD" clId="Web-{B1385AC4-9171-70B9-4190-813DFBCDA7A4}" dt="2025-01-20T07:08:57.462" v="5" actId="20577"/>
        <pc:sldMkLst>
          <pc:docMk/>
          <pc:sldMk cId="1405606700" sldId="365"/>
        </pc:sldMkLst>
      </pc:sldChg>
    </pc:docChg>
  </pc:docChgLst>
  <pc:docChgLst>
    <pc:chgData name="Wind-Larsen, Taus (SGRE TE N NT SYC&amp;MAT)" userId="909f4c56-f0bd-48e2-b5e6-c85fd07560b7" providerId="ADAL" clId="{7482155F-9D12-4948-A2BA-96C984CD98A8}"/>
    <pc:docChg chg="undo custSel addSld modSld sldOrd modSection">
      <pc:chgData name="Wind-Larsen, Taus (SGRE TE N NT SYC&amp;MAT)" userId="909f4c56-f0bd-48e2-b5e6-c85fd07560b7" providerId="ADAL" clId="{7482155F-9D12-4948-A2BA-96C984CD98A8}" dt="2023-02-03T17:33:40.974" v="10336" actId="20577"/>
      <pc:docMkLst>
        <pc:docMk/>
      </pc:docMkLst>
      <pc:sldChg chg="delSp mod">
        <pc:chgData name="Wind-Larsen, Taus (SGRE TE N NT SYC&amp;MAT)" userId="909f4c56-f0bd-48e2-b5e6-c85fd07560b7" providerId="ADAL" clId="{7482155F-9D12-4948-A2BA-96C984CD98A8}" dt="2023-02-03T17:12:47.066" v="9995" actId="478"/>
        <pc:sldMkLst>
          <pc:docMk/>
          <pc:sldMk cId="1109116256" sldId="257"/>
        </pc:sldMkLst>
      </pc:sldChg>
      <pc:sldChg chg="delSp mod">
        <pc:chgData name="Wind-Larsen, Taus (SGRE TE N NT SYC&amp;MAT)" userId="909f4c56-f0bd-48e2-b5e6-c85fd07560b7" providerId="ADAL" clId="{7482155F-9D12-4948-A2BA-96C984CD98A8}" dt="2023-02-03T17:12:40.800" v="9994" actId="478"/>
        <pc:sldMkLst>
          <pc:docMk/>
          <pc:sldMk cId="469205521" sldId="260"/>
        </pc:sldMkLst>
      </pc:sldChg>
      <pc:sldChg chg="delSp modSp mod">
        <pc:chgData name="Wind-Larsen, Taus (SGRE TE N NT SYC&amp;MAT)" userId="909f4c56-f0bd-48e2-b5e6-c85fd07560b7" providerId="ADAL" clId="{7482155F-9D12-4948-A2BA-96C984CD98A8}" dt="2023-02-03T17:13:10.991" v="9998" actId="14100"/>
        <pc:sldMkLst>
          <pc:docMk/>
          <pc:sldMk cId="3526056995" sldId="261"/>
        </pc:sldMkLst>
      </pc:sldChg>
      <pc:sldChg chg="modSp mod">
        <pc:chgData name="Wind-Larsen, Taus (SGRE TE N NT SYC&amp;MAT)" userId="909f4c56-f0bd-48e2-b5e6-c85fd07560b7" providerId="ADAL" clId="{7482155F-9D12-4948-A2BA-96C984CD98A8}" dt="2023-02-03T17:30:15.827" v="10209" actId="20577"/>
        <pc:sldMkLst>
          <pc:docMk/>
          <pc:sldMk cId="3563952106" sldId="284"/>
        </pc:sldMkLst>
      </pc:sldChg>
      <pc:sldChg chg="modSp mod">
        <pc:chgData name="Wind-Larsen, Taus (SGRE TE N NT SYC&amp;MAT)" userId="909f4c56-f0bd-48e2-b5e6-c85fd07560b7" providerId="ADAL" clId="{7482155F-9D12-4948-A2BA-96C984CD98A8}" dt="2023-02-03T17:33:40.974" v="10336" actId="20577"/>
        <pc:sldMkLst>
          <pc:docMk/>
          <pc:sldMk cId="1286349833" sldId="292"/>
        </pc:sldMkLst>
      </pc:sldChg>
      <pc:sldChg chg="modSp mod">
        <pc:chgData name="Wind-Larsen, Taus (SGRE TE N NT SYC&amp;MAT)" userId="909f4c56-f0bd-48e2-b5e6-c85fd07560b7" providerId="ADAL" clId="{7482155F-9D12-4948-A2BA-96C984CD98A8}" dt="2023-02-03T17:23:43.663" v="10087" actId="13926"/>
        <pc:sldMkLst>
          <pc:docMk/>
          <pc:sldMk cId="1840042121" sldId="293"/>
        </pc:sldMkLst>
      </pc:sldChg>
      <pc:sldChg chg="addSp modSp mod">
        <pc:chgData name="Wind-Larsen, Taus (SGRE TE N NT SYC&amp;MAT)" userId="909f4c56-f0bd-48e2-b5e6-c85fd07560b7" providerId="ADAL" clId="{7482155F-9D12-4948-A2BA-96C984CD98A8}" dt="2023-02-03T16:29:55.697" v="6045" actId="1076"/>
        <pc:sldMkLst>
          <pc:docMk/>
          <pc:sldMk cId="1468755633" sldId="299"/>
        </pc:sldMkLst>
      </pc:sldChg>
      <pc:sldChg chg="modSp mod">
        <pc:chgData name="Wind-Larsen, Taus (SGRE TE N NT SYC&amp;MAT)" userId="909f4c56-f0bd-48e2-b5e6-c85fd07560b7" providerId="ADAL" clId="{7482155F-9D12-4948-A2BA-96C984CD98A8}" dt="2023-02-03T17:17:58.181" v="10003" actId="20577"/>
        <pc:sldMkLst>
          <pc:docMk/>
          <pc:sldMk cId="284083800" sldId="310"/>
        </pc:sldMkLst>
      </pc:sldChg>
      <pc:sldChg chg="addSp delSp modSp mod">
        <pc:chgData name="Wind-Larsen, Taus (SGRE TE N NT SYC&amp;MAT)" userId="909f4c56-f0bd-48e2-b5e6-c85fd07560b7" providerId="ADAL" clId="{7482155F-9D12-4948-A2BA-96C984CD98A8}" dt="2023-02-03T16:43:25.318" v="9988"/>
        <pc:sldMkLst>
          <pc:docMk/>
          <pc:sldMk cId="3672746191" sldId="313"/>
        </pc:sldMkLst>
      </pc:sldChg>
      <pc:sldChg chg="addSp delSp modSp mod">
        <pc:chgData name="Wind-Larsen, Taus (SGRE TE N NT SYC&amp;MAT)" userId="909f4c56-f0bd-48e2-b5e6-c85fd07560b7" providerId="ADAL" clId="{7482155F-9D12-4948-A2BA-96C984CD98A8}" dt="2023-02-03T16:34:13.030" v="7585"/>
        <pc:sldMkLst>
          <pc:docMk/>
          <pc:sldMk cId="1209066160" sldId="314"/>
        </pc:sldMkLst>
      </pc:sldChg>
      <pc:sldChg chg="delSp modSp mod">
        <pc:chgData name="Wind-Larsen, Taus (SGRE TE N NT SYC&amp;MAT)" userId="909f4c56-f0bd-48e2-b5e6-c85fd07560b7" providerId="ADAL" clId="{7482155F-9D12-4948-A2BA-96C984CD98A8}" dt="2023-02-03T17:13:39.120" v="10000" actId="27636"/>
        <pc:sldMkLst>
          <pc:docMk/>
          <pc:sldMk cId="577488301" sldId="318"/>
        </pc:sldMkLst>
      </pc:sldChg>
      <pc:sldChg chg="addSp delSp modSp mod">
        <pc:chgData name="Wind-Larsen, Taus (SGRE TE N NT SYC&amp;MAT)" userId="909f4c56-f0bd-48e2-b5e6-c85fd07560b7" providerId="ADAL" clId="{7482155F-9D12-4948-A2BA-96C984CD98A8}" dt="2023-02-03T16:41:48.655" v="9838"/>
        <pc:sldMkLst>
          <pc:docMk/>
          <pc:sldMk cId="995067089" sldId="336"/>
        </pc:sldMkLst>
      </pc:sldChg>
      <pc:sldChg chg="addSp delSp mod">
        <pc:chgData name="Wind-Larsen, Taus (SGRE TE N NT SYC&amp;MAT)" userId="909f4c56-f0bd-48e2-b5e6-c85fd07560b7" providerId="ADAL" clId="{7482155F-9D12-4948-A2BA-96C984CD98A8}" dt="2023-02-03T17:12:35.360" v="9993" actId="478"/>
        <pc:sldMkLst>
          <pc:docMk/>
          <pc:sldMk cId="1211001049" sldId="345"/>
        </pc:sldMkLst>
      </pc:sldChg>
      <pc:sldChg chg="addSp delSp modSp mod">
        <pc:chgData name="Wind-Larsen, Taus (SGRE TE N NT SYC&amp;MAT)" userId="909f4c56-f0bd-48e2-b5e6-c85fd07560b7" providerId="ADAL" clId="{7482155F-9D12-4948-A2BA-96C984CD98A8}" dt="2023-02-03T17:23:10.465" v="10086" actId="20577"/>
        <pc:sldMkLst>
          <pc:docMk/>
          <pc:sldMk cId="3844324542" sldId="347"/>
        </pc:sldMkLst>
      </pc:sldChg>
      <pc:sldChg chg="ord">
        <pc:chgData name="Wind-Larsen, Taus (SGRE TE N NT SYC&amp;MAT)" userId="909f4c56-f0bd-48e2-b5e6-c85fd07560b7" providerId="ADAL" clId="{7482155F-9D12-4948-A2BA-96C984CD98A8}" dt="2023-02-03T17:20:09.331" v="10007"/>
        <pc:sldMkLst>
          <pc:docMk/>
          <pc:sldMk cId="3870458832" sldId="348"/>
        </pc:sldMkLst>
      </pc:sldChg>
      <pc:sldChg chg="addSp delSp modSp new add mod">
        <pc:chgData name="Wind-Larsen, Taus (SGRE TE N NT SYC&amp;MAT)" userId="909f4c56-f0bd-48e2-b5e6-c85fd07560b7" providerId="ADAL" clId="{7482155F-9D12-4948-A2BA-96C984CD98A8}" dt="2023-02-03T17:27:47.341" v="10205" actId="20577"/>
        <pc:sldMkLst>
          <pc:docMk/>
          <pc:sldMk cId="1587693403" sldId="349"/>
        </pc:sldMkLst>
      </pc:sldChg>
    </pc:docChg>
  </pc:docChgLst>
  <pc:docChgLst>
    <pc:chgData name="Lund, Vibeke" userId="S::vibeke.westenholz@siemensgamesa.com::be2c167c-cc21-4c23-92b1-78ba209712f0" providerId="AD" clId="Web-{6EF07889-C403-02C5-8420-E73B5E34A02F}"/>
    <pc:docChg chg="delSld modSld modSection">
      <pc:chgData name="Lund, Vibeke" userId="S::vibeke.westenholz@siemensgamesa.com::be2c167c-cc21-4c23-92b1-78ba209712f0" providerId="AD" clId="Web-{6EF07889-C403-02C5-8420-E73B5E34A02F}" dt="2025-02-17T14:28:01.306" v="3"/>
      <pc:docMkLst>
        <pc:docMk/>
      </pc:docMkLst>
      <pc:sldChg chg="modSp">
        <pc:chgData name="Lund, Vibeke" userId="S::vibeke.westenholz@siemensgamesa.com::be2c167c-cc21-4c23-92b1-78ba209712f0" providerId="AD" clId="Web-{6EF07889-C403-02C5-8420-E73B5E34A02F}" dt="2025-02-17T14:28:01.306" v="3"/>
        <pc:sldMkLst>
          <pc:docMk/>
          <pc:sldMk cId="1462526466" sldId="369"/>
        </pc:sldMkLst>
        <pc:graphicFrameChg chg="mod modGraphic">
          <ac:chgData name="Lund, Vibeke" userId="S::vibeke.westenholz@siemensgamesa.com::be2c167c-cc21-4c23-92b1-78ba209712f0" providerId="AD" clId="Web-{6EF07889-C403-02C5-8420-E73B5E34A02F}" dt="2025-02-17T14:28:01.306" v="3"/>
          <ac:graphicFrameMkLst>
            <pc:docMk/>
            <pc:sldMk cId="1462526466" sldId="369"/>
            <ac:graphicFrameMk id="3" creationId="{D488FA64-A4FC-4547-943F-86CB8849E592}"/>
          </ac:graphicFrameMkLst>
        </pc:graphicFrameChg>
      </pc:sldChg>
      <pc:sldChg chg="del">
        <pc:chgData name="Lund, Vibeke" userId="S::vibeke.westenholz@siemensgamesa.com::be2c167c-cc21-4c23-92b1-78ba209712f0" providerId="AD" clId="Web-{6EF07889-C403-02C5-8420-E73B5E34A02F}" dt="2025-02-17T14:26:32.023" v="1"/>
        <pc:sldMkLst>
          <pc:docMk/>
          <pc:sldMk cId="2983965210" sldId="372"/>
        </pc:sldMkLst>
      </pc:sldChg>
      <pc:sldChg chg="del">
        <pc:chgData name="Lund, Vibeke" userId="S::vibeke.westenholz@siemensgamesa.com::be2c167c-cc21-4c23-92b1-78ba209712f0" providerId="AD" clId="Web-{6EF07889-C403-02C5-8420-E73B5E34A02F}" dt="2025-02-17T14:26:15.585" v="0"/>
        <pc:sldMkLst>
          <pc:docMk/>
          <pc:sldMk cId="209147826" sldId="373"/>
        </pc:sldMkLst>
      </pc:sldChg>
    </pc:docChg>
  </pc:docChgLst>
  <pc:docChgLst>
    <pc:chgData name="Simmelkjaer, Pia Butzkowsky" userId="S::pia.simmelkjaer@siemensgamesa.com::ecd52c23-7eb3-48b2-8414-fa14d3e833f8" providerId="AD" clId="Web-{6A83CBFA-F4ED-356C-15B9-0C8085DFE34B}"/>
    <pc:docChg chg="modSld">
      <pc:chgData name="Simmelkjaer, Pia Butzkowsky" userId="S::pia.simmelkjaer@siemensgamesa.com::ecd52c23-7eb3-48b2-8414-fa14d3e833f8" providerId="AD" clId="Web-{6A83CBFA-F4ED-356C-15B9-0C8085DFE34B}" dt="2025-02-20T18:00:31.866" v="30" actId="20577"/>
      <pc:docMkLst>
        <pc:docMk/>
      </pc:docMkLst>
      <pc:sldChg chg="modSp">
        <pc:chgData name="Simmelkjaer, Pia Butzkowsky" userId="S::pia.simmelkjaer@siemensgamesa.com::ecd52c23-7eb3-48b2-8414-fa14d3e833f8" providerId="AD" clId="Web-{6A83CBFA-F4ED-356C-15B9-0C8085DFE34B}" dt="2025-02-20T18:00:31.866" v="30" actId="20577"/>
        <pc:sldMkLst>
          <pc:docMk/>
          <pc:sldMk cId="284083800" sldId="310"/>
        </pc:sldMkLst>
        <pc:spChg chg="mod">
          <ac:chgData name="Simmelkjaer, Pia Butzkowsky" userId="S::pia.simmelkjaer@siemensgamesa.com::ecd52c23-7eb3-48b2-8414-fa14d3e833f8" providerId="AD" clId="Web-{6A83CBFA-F4ED-356C-15B9-0C8085DFE34B}" dt="2025-02-20T18:00:31.866" v="30" actId="20577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Simmelkjaer, Pia Butzkowsky" userId="S::pia.simmelkjaer@siemensgamesa.com::ecd52c23-7eb3-48b2-8414-fa14d3e833f8" providerId="AD" clId="Web-{6A83CBFA-F4ED-356C-15B9-0C8085DFE34B}" dt="2025-02-20T17:59:46.348" v="23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modSp">
        <pc:chgData name="Simmelkjaer, Pia Butzkowsky" userId="S::pia.simmelkjaer@siemensgamesa.com::ecd52c23-7eb3-48b2-8414-fa14d3e833f8" providerId="AD" clId="Web-{6A83CBFA-F4ED-356C-15B9-0C8085DFE34B}" dt="2025-02-20T17:59:16.925" v="1" actId="20577"/>
        <pc:sldMkLst>
          <pc:docMk/>
          <pc:sldMk cId="1462526466" sldId="369"/>
        </pc:sldMkLst>
        <pc:spChg chg="mod">
          <ac:chgData name="Simmelkjaer, Pia Butzkowsky" userId="S::pia.simmelkjaer@siemensgamesa.com::ecd52c23-7eb3-48b2-8414-fa14d3e833f8" providerId="AD" clId="Web-{6A83CBFA-F4ED-356C-15B9-0C8085DFE34B}" dt="2025-02-20T17:59:16.925" v="1" actId="20577"/>
          <ac:spMkLst>
            <pc:docMk/>
            <pc:sldMk cId="1462526466" sldId="369"/>
            <ac:spMk id="24" creationId="{791BE622-C43F-4F53-9EF7-AE95C277AB41}"/>
          </ac:spMkLst>
        </pc:spChg>
      </pc:sldChg>
    </pc:docChg>
  </pc:docChgLst>
  <pc:docChgLst>
    <pc:chgData name="Lund, Vibeke" userId="S::vibeke.westenholz@siemensgamesa.com::be2c167c-cc21-4c23-92b1-78ba209712f0" providerId="AD" clId="Web-{065935D9-9972-64A4-CF61-8D5D5269056D}"/>
    <pc:docChg chg="modSld">
      <pc:chgData name="Lund, Vibeke" userId="S::vibeke.westenholz@siemensgamesa.com::be2c167c-cc21-4c23-92b1-78ba209712f0" providerId="AD" clId="Web-{065935D9-9972-64A4-CF61-8D5D5269056D}" dt="2025-01-16T07:33:20.358" v="6" actId="20577"/>
      <pc:docMkLst>
        <pc:docMk/>
      </pc:docMkLst>
      <pc:sldChg chg="modSp">
        <pc:chgData name="Lund, Vibeke" userId="S::vibeke.westenholz@siemensgamesa.com::be2c167c-cc21-4c23-92b1-78ba209712f0" providerId="AD" clId="Web-{065935D9-9972-64A4-CF61-8D5D5269056D}" dt="2025-01-16T07:33:20.358" v="6" actId="20577"/>
        <pc:sldMkLst>
          <pc:docMk/>
          <pc:sldMk cId="1405606700" sldId="365"/>
        </pc:sldMkLst>
      </pc:sldChg>
    </pc:docChg>
  </pc:docChgLst>
  <pc:docChgLst>
    <pc:chgData name="Lund, Vibeke (SGRE COG P&amp;LOG NE&amp;ME)" userId="S::vibeke.westenholz@siemensgamesa.com::be2c167c-cc21-4c23-92b1-78ba209712f0" providerId="AD" clId="Web-{DD1396F1-F1CE-57B6-39B2-64DC741B6EA1}"/>
    <pc:docChg chg="sldOrd">
      <pc:chgData name="Lund, Vibeke (SGRE COG P&amp;LOG NE&amp;ME)" userId="S::vibeke.westenholz@siemensgamesa.com::be2c167c-cc21-4c23-92b1-78ba209712f0" providerId="AD" clId="Web-{DD1396F1-F1CE-57B6-39B2-64DC741B6EA1}" dt="2024-02-12T09:47:05.985" v="0"/>
      <pc:docMkLst>
        <pc:docMk/>
      </pc:docMkLst>
      <pc:sldChg chg="ord">
        <pc:chgData name="Lund, Vibeke (SGRE COG P&amp;LOG NE&amp;ME)" userId="S::vibeke.westenholz@siemensgamesa.com::be2c167c-cc21-4c23-92b1-78ba209712f0" providerId="AD" clId="Web-{DD1396F1-F1CE-57B6-39B2-64DC741B6EA1}" dt="2024-02-12T09:47:05.985" v="0"/>
        <pc:sldMkLst>
          <pc:docMk/>
          <pc:sldMk cId="1468755633" sldId="299"/>
        </pc:sldMkLst>
      </pc:sldChg>
    </pc:docChg>
  </pc:docChgLst>
  <pc:docChgLst>
    <pc:chgData name="Tabea Schadwinkel" userId="1ebe15d8-8799-439a-b1b7-c2534eb557bc" providerId="ADAL" clId="{A8CAF6CE-22A7-475F-9828-7DE66B44BDFD}"/>
    <pc:docChg chg="undo custSel addSld delSld modSld sldOrd modSection">
      <pc:chgData name="Tabea Schadwinkel" userId="1ebe15d8-8799-439a-b1b7-c2534eb557bc" providerId="ADAL" clId="{A8CAF6CE-22A7-475F-9828-7DE66B44BDFD}" dt="2024-02-02T12:32:47.676" v="1067" actId="20577"/>
      <pc:docMkLst>
        <pc:docMk/>
      </pc:docMkLst>
      <pc:sldChg chg="modSp mod">
        <pc:chgData name="Tabea Schadwinkel" userId="1ebe15d8-8799-439a-b1b7-c2534eb557bc" providerId="ADAL" clId="{A8CAF6CE-22A7-475F-9828-7DE66B44BDFD}" dt="2024-02-02T07:48:00.199" v="32" actId="20577"/>
        <pc:sldMkLst>
          <pc:docMk/>
          <pc:sldMk cId="1618370001" sldId="271"/>
        </pc:sldMkLst>
      </pc:sldChg>
      <pc:sldChg chg="modSp mod modNotesTx">
        <pc:chgData name="Tabea Schadwinkel" userId="1ebe15d8-8799-439a-b1b7-c2534eb557bc" providerId="ADAL" clId="{A8CAF6CE-22A7-475F-9828-7DE66B44BDFD}" dt="2024-02-02T08:57:44.500" v="682" actId="20577"/>
        <pc:sldMkLst>
          <pc:docMk/>
          <pc:sldMk cId="3563952106" sldId="284"/>
        </pc:sldMkLst>
      </pc:sldChg>
      <pc:sldChg chg="modSp ord">
        <pc:chgData name="Tabea Schadwinkel" userId="1ebe15d8-8799-439a-b1b7-c2534eb557bc" providerId="ADAL" clId="{A8CAF6CE-22A7-475F-9828-7DE66B44BDFD}" dt="2024-02-02T09:35:19.892" v="762"/>
        <pc:sldMkLst>
          <pc:docMk/>
          <pc:sldMk cId="1320544008" sldId="286"/>
        </pc:sldMkLst>
      </pc:sldChg>
      <pc:sldChg chg="addSp modSp mod">
        <pc:chgData name="Tabea Schadwinkel" userId="1ebe15d8-8799-439a-b1b7-c2534eb557bc" providerId="ADAL" clId="{A8CAF6CE-22A7-475F-9828-7DE66B44BDFD}" dt="2024-02-02T09:04:55.547" v="716" actId="1076"/>
        <pc:sldMkLst>
          <pc:docMk/>
          <pc:sldMk cId="1286349833" sldId="292"/>
        </pc:sldMkLst>
      </pc:sldChg>
      <pc:sldChg chg="addSp modSp mod">
        <pc:chgData name="Tabea Schadwinkel" userId="1ebe15d8-8799-439a-b1b7-c2534eb557bc" providerId="ADAL" clId="{A8CAF6CE-22A7-475F-9828-7DE66B44BDFD}" dt="2024-02-02T09:39:29.155" v="851" actId="20577"/>
        <pc:sldMkLst>
          <pc:docMk/>
          <pc:sldMk cId="1840042121" sldId="293"/>
        </pc:sldMkLst>
      </pc:sldChg>
      <pc:sldChg chg="addSp modSp">
        <pc:chgData name="Tabea Schadwinkel" userId="1ebe15d8-8799-439a-b1b7-c2534eb557bc" providerId="ADAL" clId="{A8CAF6CE-22A7-475F-9828-7DE66B44BDFD}" dt="2024-02-02T09:06:53.086" v="724"/>
        <pc:sldMkLst>
          <pc:docMk/>
          <pc:sldMk cId="2483631185" sldId="294"/>
        </pc:sldMkLst>
      </pc:sldChg>
      <pc:sldChg chg="modSp">
        <pc:chgData name="Tabea Schadwinkel" userId="1ebe15d8-8799-439a-b1b7-c2534eb557bc" providerId="ADAL" clId="{A8CAF6CE-22A7-475F-9828-7DE66B44BDFD}" dt="2024-02-02T08:53:37.814" v="595"/>
        <pc:sldMkLst>
          <pc:docMk/>
          <pc:sldMk cId="3176653745" sldId="296"/>
        </pc:sldMkLst>
      </pc:sldChg>
      <pc:sldChg chg="addSp modSp mod">
        <pc:chgData name="Tabea Schadwinkel" userId="1ebe15d8-8799-439a-b1b7-c2534eb557bc" providerId="ADAL" clId="{A8CAF6CE-22A7-475F-9828-7DE66B44BDFD}" dt="2024-02-02T12:06:30.265" v="985" actId="1076"/>
        <pc:sldMkLst>
          <pc:docMk/>
          <pc:sldMk cId="1468755633" sldId="299"/>
        </pc:sldMkLst>
      </pc:sldChg>
      <pc:sldChg chg="addSp modSp">
        <pc:chgData name="Tabea Schadwinkel" userId="1ebe15d8-8799-439a-b1b7-c2534eb557bc" providerId="ADAL" clId="{A8CAF6CE-22A7-475F-9828-7DE66B44BDFD}" dt="2024-02-02T09:06:06.841" v="721"/>
        <pc:sldMkLst>
          <pc:docMk/>
          <pc:sldMk cId="284083800" sldId="310"/>
        </pc:sldMkLst>
      </pc:sldChg>
      <pc:sldChg chg="addSp modSp mod ord">
        <pc:chgData name="Tabea Schadwinkel" userId="1ebe15d8-8799-439a-b1b7-c2534eb557bc" providerId="ADAL" clId="{A8CAF6CE-22A7-475F-9828-7DE66B44BDFD}" dt="2024-02-02T12:12:30.159" v="1057" actId="1076"/>
        <pc:sldMkLst>
          <pc:docMk/>
          <pc:sldMk cId="4087205575" sldId="323"/>
        </pc:sldMkLst>
      </pc:sldChg>
      <pc:sldChg chg="addSp delSp modSp mod ord delAnim">
        <pc:chgData name="Tabea Schadwinkel" userId="1ebe15d8-8799-439a-b1b7-c2534eb557bc" providerId="ADAL" clId="{A8CAF6CE-22A7-475F-9828-7DE66B44BDFD}" dt="2024-02-02T12:11:12.682" v="1010" actId="20577"/>
        <pc:sldMkLst>
          <pc:docMk/>
          <pc:sldMk cId="3047106097" sldId="335"/>
        </pc:sldMkLst>
      </pc:sldChg>
      <pc:sldChg chg="modSp mod">
        <pc:chgData name="Tabea Schadwinkel" userId="1ebe15d8-8799-439a-b1b7-c2534eb557bc" providerId="ADAL" clId="{A8CAF6CE-22A7-475F-9828-7DE66B44BDFD}" dt="2024-02-02T12:32:47.676" v="1067" actId="20577"/>
        <pc:sldMkLst>
          <pc:docMk/>
          <pc:sldMk cId="995067089" sldId="336"/>
        </pc:sldMkLst>
      </pc:sldChg>
      <pc:sldChg chg="modSp del">
        <pc:chgData name="Tabea Schadwinkel" userId="1ebe15d8-8799-439a-b1b7-c2534eb557bc" providerId="ADAL" clId="{A8CAF6CE-22A7-475F-9828-7DE66B44BDFD}" dt="2024-02-02T09:06:34.672" v="722" actId="47"/>
        <pc:sldMkLst>
          <pc:docMk/>
          <pc:sldMk cId="3844324542" sldId="347"/>
        </pc:sldMkLst>
      </pc:sldChg>
      <pc:sldChg chg="addSp delSp modSp add mod chgLayout">
        <pc:chgData name="Tabea Schadwinkel" userId="1ebe15d8-8799-439a-b1b7-c2534eb557bc" providerId="ADAL" clId="{A8CAF6CE-22A7-475F-9828-7DE66B44BDFD}" dt="2024-02-02T09:16:14.930" v="742" actId="20577"/>
        <pc:sldMkLst>
          <pc:docMk/>
          <pc:sldMk cId="2987051269" sldId="348"/>
        </pc:sldMkLst>
      </pc:sldChg>
      <pc:sldChg chg="del">
        <pc:chgData name="Tabea Schadwinkel" userId="1ebe15d8-8799-439a-b1b7-c2534eb557bc" providerId="ADAL" clId="{A8CAF6CE-22A7-475F-9828-7DE66B44BDFD}" dt="2024-02-02T08:54:13.473" v="596" actId="2696"/>
        <pc:sldMkLst>
          <pc:docMk/>
          <pc:sldMk cId="3870458832" sldId="348"/>
        </pc:sldMkLst>
      </pc:sldChg>
      <pc:sldChg chg="addSp delSp modSp mod chgLayout">
        <pc:chgData name="Tabea Schadwinkel" userId="1ebe15d8-8799-439a-b1b7-c2534eb557bc" providerId="ADAL" clId="{A8CAF6CE-22A7-475F-9828-7DE66B44BDFD}" dt="2024-02-02T09:48:24.853" v="966" actId="1076"/>
        <pc:sldMkLst>
          <pc:docMk/>
          <pc:sldMk cId="1587693403" sldId="349"/>
        </pc:sldMkLst>
      </pc:sldChg>
      <pc:sldChg chg="addSp modSp mod">
        <pc:chgData name="Tabea Schadwinkel" userId="1ebe15d8-8799-439a-b1b7-c2534eb557bc" providerId="ADAL" clId="{A8CAF6CE-22A7-475F-9828-7DE66B44BDFD}" dt="2024-02-02T09:05:24.138" v="720" actId="1076"/>
        <pc:sldMkLst>
          <pc:docMk/>
          <pc:sldMk cId="2076336558" sldId="350"/>
        </pc:sldMkLst>
      </pc:sldChg>
      <pc:sldChg chg="addSp modSp mod">
        <pc:chgData name="Tabea Schadwinkel" userId="1ebe15d8-8799-439a-b1b7-c2534eb557bc" providerId="ADAL" clId="{A8CAF6CE-22A7-475F-9828-7DE66B44BDFD}" dt="2024-02-02T09:05:02.444" v="718" actId="1076"/>
        <pc:sldMkLst>
          <pc:docMk/>
          <pc:sldMk cId="4192225459" sldId="351"/>
        </pc:sldMkLst>
      </pc:sldChg>
      <pc:sldChg chg="modSp del">
        <pc:chgData name="Tabea Schadwinkel" userId="1ebe15d8-8799-439a-b1b7-c2534eb557bc" providerId="ADAL" clId="{A8CAF6CE-22A7-475F-9828-7DE66B44BDFD}" dt="2024-02-02T08:55:05.208" v="599" actId="47"/>
        <pc:sldMkLst>
          <pc:docMk/>
          <pc:sldMk cId="172667756" sldId="352"/>
        </pc:sldMkLst>
      </pc:sldChg>
      <pc:sldChg chg="modSp del">
        <pc:chgData name="Tabea Schadwinkel" userId="1ebe15d8-8799-439a-b1b7-c2534eb557bc" providerId="ADAL" clId="{A8CAF6CE-22A7-475F-9828-7DE66B44BDFD}" dt="2024-02-02T08:56:01.533" v="603" actId="47"/>
        <pc:sldMkLst>
          <pc:docMk/>
          <pc:sldMk cId="1704835808" sldId="353"/>
        </pc:sldMkLst>
      </pc:sldChg>
      <pc:sldChg chg="modSp del">
        <pc:chgData name="Tabea Schadwinkel" userId="1ebe15d8-8799-439a-b1b7-c2534eb557bc" providerId="ADAL" clId="{A8CAF6CE-22A7-475F-9828-7DE66B44BDFD}" dt="2024-02-02T09:36:59.193" v="804" actId="47"/>
        <pc:sldMkLst>
          <pc:docMk/>
          <pc:sldMk cId="746358243" sldId="354"/>
        </pc:sldMkLst>
      </pc:sldChg>
      <pc:sldChg chg="modSp del">
        <pc:chgData name="Tabea Schadwinkel" userId="1ebe15d8-8799-439a-b1b7-c2534eb557bc" providerId="ADAL" clId="{A8CAF6CE-22A7-475F-9828-7DE66B44BDFD}" dt="2024-02-02T09:37:37.197" v="816" actId="47"/>
        <pc:sldMkLst>
          <pc:docMk/>
          <pc:sldMk cId="818019181" sldId="355"/>
        </pc:sldMkLst>
      </pc:sldChg>
      <pc:sldChg chg="modSp del">
        <pc:chgData name="Tabea Schadwinkel" userId="1ebe15d8-8799-439a-b1b7-c2534eb557bc" providerId="ADAL" clId="{A8CAF6CE-22A7-475F-9828-7DE66B44BDFD}" dt="2024-02-02T09:37:45.393" v="817" actId="47"/>
        <pc:sldMkLst>
          <pc:docMk/>
          <pc:sldMk cId="356755605" sldId="356"/>
        </pc:sldMkLst>
      </pc:sldChg>
      <pc:sldChg chg="modSp del">
        <pc:chgData name="Tabea Schadwinkel" userId="1ebe15d8-8799-439a-b1b7-c2534eb557bc" providerId="ADAL" clId="{A8CAF6CE-22A7-475F-9828-7DE66B44BDFD}" dt="2024-02-02T09:37:59.212" v="821" actId="47"/>
        <pc:sldMkLst>
          <pc:docMk/>
          <pc:sldMk cId="2176896723" sldId="357"/>
        </pc:sldMkLst>
      </pc:sldChg>
      <pc:sldChg chg="modSp del">
        <pc:chgData name="Tabea Schadwinkel" userId="1ebe15d8-8799-439a-b1b7-c2534eb557bc" providerId="ADAL" clId="{A8CAF6CE-22A7-475F-9828-7DE66B44BDFD}" dt="2024-02-02T09:38:18.073" v="827" actId="47"/>
        <pc:sldMkLst>
          <pc:docMk/>
          <pc:sldMk cId="843878808" sldId="358"/>
        </pc:sldMkLst>
      </pc:sldChg>
      <pc:sldChg chg="modSp del">
        <pc:chgData name="Tabea Schadwinkel" userId="1ebe15d8-8799-439a-b1b7-c2534eb557bc" providerId="ADAL" clId="{A8CAF6CE-22A7-475F-9828-7DE66B44BDFD}" dt="2024-02-02T09:38:55.925" v="833" actId="47"/>
        <pc:sldMkLst>
          <pc:docMk/>
          <pc:sldMk cId="1581570990" sldId="359"/>
        </pc:sldMkLst>
      </pc:sldChg>
      <pc:sldChg chg="modSp del">
        <pc:chgData name="Tabea Schadwinkel" userId="1ebe15d8-8799-439a-b1b7-c2534eb557bc" providerId="ADAL" clId="{A8CAF6CE-22A7-475F-9828-7DE66B44BDFD}" dt="2024-02-02T09:39:36.723" v="852" actId="47"/>
        <pc:sldMkLst>
          <pc:docMk/>
          <pc:sldMk cId="1781487789" sldId="360"/>
        </pc:sldMkLst>
      </pc:sldChg>
      <pc:sldChg chg="modSp del">
        <pc:chgData name="Tabea Schadwinkel" userId="1ebe15d8-8799-439a-b1b7-c2534eb557bc" providerId="ADAL" clId="{A8CAF6CE-22A7-475F-9828-7DE66B44BDFD}" dt="2024-02-02T09:38:58.388" v="834" actId="47"/>
        <pc:sldMkLst>
          <pc:docMk/>
          <pc:sldMk cId="2719752945" sldId="361"/>
        </pc:sldMkLst>
      </pc:sldChg>
      <pc:sldChg chg="modSp del">
        <pc:chgData name="Tabea Schadwinkel" userId="1ebe15d8-8799-439a-b1b7-c2534eb557bc" providerId="ADAL" clId="{A8CAF6CE-22A7-475F-9828-7DE66B44BDFD}" dt="2024-02-02T09:39:02.164" v="835" actId="47"/>
        <pc:sldMkLst>
          <pc:docMk/>
          <pc:sldMk cId="2387251017" sldId="362"/>
        </pc:sldMkLst>
      </pc:sldChg>
      <pc:sldChg chg="modSp add del mod ord">
        <pc:chgData name="Tabea Schadwinkel" userId="1ebe15d8-8799-439a-b1b7-c2534eb557bc" providerId="ADAL" clId="{A8CAF6CE-22A7-475F-9828-7DE66B44BDFD}" dt="2024-02-02T08:58:00.398" v="684" actId="47"/>
        <pc:sldMkLst>
          <pc:docMk/>
          <pc:sldMk cId="381596412" sldId="363"/>
        </pc:sldMkLst>
      </pc:sldChg>
      <pc:sldChg chg="modSp add del mod">
        <pc:chgData name="Tabea Schadwinkel" userId="1ebe15d8-8799-439a-b1b7-c2534eb557bc" providerId="ADAL" clId="{A8CAF6CE-22A7-475F-9828-7DE66B44BDFD}" dt="2024-02-02T09:34:39.546" v="752" actId="47"/>
        <pc:sldMkLst>
          <pc:docMk/>
          <pc:sldMk cId="359565626" sldId="364"/>
        </pc:sldMkLst>
      </pc:sldChg>
      <pc:sldChg chg="modSp add mod">
        <pc:chgData name="Tabea Schadwinkel" userId="1ebe15d8-8799-439a-b1b7-c2534eb557bc" providerId="ADAL" clId="{A8CAF6CE-22A7-475F-9828-7DE66B44BDFD}" dt="2024-02-02T09:41:07.409" v="860" actId="20577"/>
        <pc:sldMkLst>
          <pc:docMk/>
          <pc:sldMk cId="1405606700" sldId="365"/>
        </pc:sldMkLst>
      </pc:sldChg>
      <pc:sldChg chg="modSp add mod ord">
        <pc:chgData name="Tabea Schadwinkel" userId="1ebe15d8-8799-439a-b1b7-c2534eb557bc" providerId="ADAL" clId="{A8CAF6CE-22A7-475F-9828-7DE66B44BDFD}" dt="2024-02-02T09:41:19.408" v="862" actId="20577"/>
        <pc:sldMkLst>
          <pc:docMk/>
          <pc:sldMk cId="176201174" sldId="366"/>
        </pc:sldMkLst>
      </pc:sldChg>
      <pc:sldChg chg="modSp add mod">
        <pc:chgData name="Tabea Schadwinkel" userId="1ebe15d8-8799-439a-b1b7-c2534eb557bc" providerId="ADAL" clId="{A8CAF6CE-22A7-475F-9828-7DE66B44BDFD}" dt="2024-02-02T09:41:15.496" v="861" actId="20577"/>
        <pc:sldMkLst>
          <pc:docMk/>
          <pc:sldMk cId="325778309" sldId="367"/>
        </pc:sldMkLst>
      </pc:sldChg>
      <pc:sldChg chg="modSp add mod">
        <pc:chgData name="Tabea Schadwinkel" userId="1ebe15d8-8799-439a-b1b7-c2534eb557bc" providerId="ADAL" clId="{A8CAF6CE-22A7-475F-9828-7DE66B44BDFD}" dt="2024-02-02T09:41:23.542" v="863" actId="6549"/>
        <pc:sldMkLst>
          <pc:docMk/>
          <pc:sldMk cId="3627570454" sldId="368"/>
        </pc:sldMkLst>
      </pc:sldChg>
      <pc:sldChg chg="modSp new del mod">
        <pc:chgData name="Tabea Schadwinkel" userId="1ebe15d8-8799-439a-b1b7-c2534eb557bc" providerId="ADAL" clId="{A8CAF6CE-22A7-475F-9828-7DE66B44BDFD}" dt="2024-02-02T09:37:18.879" v="810" actId="47"/>
        <pc:sldMkLst>
          <pc:docMk/>
          <pc:sldMk cId="351973537" sldId="369"/>
        </pc:sldMkLst>
      </pc:sldChg>
      <pc:sldChg chg="addSp modSp add mod">
        <pc:chgData name="Tabea Schadwinkel" userId="1ebe15d8-8799-439a-b1b7-c2534eb557bc" providerId="ADAL" clId="{A8CAF6CE-22A7-475F-9828-7DE66B44BDFD}" dt="2024-02-02T09:41:27.374" v="864" actId="6549"/>
        <pc:sldMkLst>
          <pc:docMk/>
          <pc:sldMk cId="2318221535" sldId="370"/>
        </pc:sldMkLst>
      </pc:sldChg>
      <pc:sldChg chg="delSp modSp add mod">
        <pc:chgData name="Tabea Schadwinkel" userId="1ebe15d8-8799-439a-b1b7-c2534eb557bc" providerId="ADAL" clId="{A8CAF6CE-22A7-475F-9828-7DE66B44BDFD}" dt="2024-02-02T09:41:30.634" v="865" actId="20577"/>
        <pc:sldMkLst>
          <pc:docMk/>
          <pc:sldMk cId="1005772816" sldId="371"/>
        </pc:sldMkLst>
      </pc:sldChg>
      <pc:sldChg chg="modSp add del mod">
        <pc:chgData name="Tabea Schadwinkel" userId="1ebe15d8-8799-439a-b1b7-c2534eb557bc" providerId="ADAL" clId="{A8CAF6CE-22A7-475F-9828-7DE66B44BDFD}" dt="2024-02-02T09:36:55.402" v="802"/>
        <pc:sldMkLst>
          <pc:docMk/>
          <pc:sldMk cId="1582610131" sldId="372"/>
        </pc:sldMkLst>
      </pc:sldChg>
      <pc:sldChg chg="modSp add mod">
        <pc:chgData name="Tabea Schadwinkel" userId="1ebe15d8-8799-439a-b1b7-c2534eb557bc" providerId="ADAL" clId="{A8CAF6CE-22A7-475F-9828-7DE66B44BDFD}" dt="2024-02-02T09:41:36.678" v="866" actId="20577"/>
        <pc:sldMkLst>
          <pc:docMk/>
          <pc:sldMk cId="2784978758" sldId="372"/>
        </pc:sldMkLst>
      </pc:sldChg>
      <pc:sldChg chg="modSp add mod">
        <pc:chgData name="Tabea Schadwinkel" userId="1ebe15d8-8799-439a-b1b7-c2534eb557bc" providerId="ADAL" clId="{A8CAF6CE-22A7-475F-9828-7DE66B44BDFD}" dt="2024-02-02T09:41:41.424" v="867" actId="20577"/>
        <pc:sldMkLst>
          <pc:docMk/>
          <pc:sldMk cId="1262969020" sldId="373"/>
        </pc:sldMkLst>
      </pc:sldChg>
      <pc:sldChg chg="modSp add mod ord">
        <pc:chgData name="Tabea Schadwinkel" userId="1ebe15d8-8799-439a-b1b7-c2534eb557bc" providerId="ADAL" clId="{A8CAF6CE-22A7-475F-9828-7DE66B44BDFD}" dt="2024-02-02T09:41:45.073" v="868" actId="20577"/>
        <pc:sldMkLst>
          <pc:docMk/>
          <pc:sldMk cId="3428660079" sldId="374"/>
        </pc:sldMkLst>
      </pc:sldChg>
      <pc:sldChg chg="addSp modSp add mod">
        <pc:chgData name="Tabea Schadwinkel" userId="1ebe15d8-8799-439a-b1b7-c2534eb557bc" providerId="ADAL" clId="{A8CAF6CE-22A7-475F-9828-7DE66B44BDFD}" dt="2024-02-02T09:41:49.353" v="869" actId="20577"/>
        <pc:sldMkLst>
          <pc:docMk/>
          <pc:sldMk cId="2038266353" sldId="375"/>
        </pc:sldMkLst>
      </pc:sldChg>
      <pc:sldChg chg="modSp add mod">
        <pc:chgData name="Tabea Schadwinkel" userId="1ebe15d8-8799-439a-b1b7-c2534eb557bc" providerId="ADAL" clId="{A8CAF6CE-22A7-475F-9828-7DE66B44BDFD}" dt="2024-02-02T09:41:52.956" v="870" actId="20577"/>
        <pc:sldMkLst>
          <pc:docMk/>
          <pc:sldMk cId="1916258096" sldId="376"/>
        </pc:sldMkLst>
      </pc:sldChg>
      <pc:sldChg chg="modSp add mod">
        <pc:chgData name="Tabea Schadwinkel" userId="1ebe15d8-8799-439a-b1b7-c2534eb557bc" providerId="ADAL" clId="{A8CAF6CE-22A7-475F-9828-7DE66B44BDFD}" dt="2024-02-02T09:41:57.002" v="871" actId="20577"/>
        <pc:sldMkLst>
          <pc:docMk/>
          <pc:sldMk cId="3321121259" sldId="377"/>
        </pc:sldMkLst>
      </pc:sldChg>
      <pc:sldChg chg="addSp delSp modSp new mod modClrScheme chgLayout">
        <pc:chgData name="Tabea Schadwinkel" userId="1ebe15d8-8799-439a-b1b7-c2534eb557bc" providerId="ADAL" clId="{A8CAF6CE-22A7-475F-9828-7DE66B44BDFD}" dt="2024-02-02T12:05:44.859" v="977" actId="700"/>
        <pc:sldMkLst>
          <pc:docMk/>
          <pc:sldMk cId="907111057" sldId="378"/>
        </pc:sldMkLst>
      </pc:sldChg>
      <pc:sldChg chg="modSp add mod">
        <pc:chgData name="Tabea Schadwinkel" userId="1ebe15d8-8799-439a-b1b7-c2534eb557bc" providerId="ADAL" clId="{A8CAF6CE-22A7-475F-9828-7DE66B44BDFD}" dt="2024-02-02T12:10:48.637" v="1000" actId="255"/>
        <pc:sldMkLst>
          <pc:docMk/>
          <pc:sldMk cId="192227631" sldId="379"/>
        </pc:sldMkLst>
      </pc:sldChg>
    </pc:docChg>
  </pc:docChgLst>
  <pc:docChgLst>
    <pc:chgData name="Wind-Larsen, Taus (SGRE OF TE NAC TD SYC)" userId="909f4c56-f0bd-48e2-b5e6-c85fd07560b7" providerId="ADAL" clId="{1E5C054E-E3B6-424B-AA8A-AA7446ADABE8}"/>
    <pc:docChg chg="undo custSel addSld delSld modSld">
      <pc:chgData name="Wind-Larsen, Taus (SGRE OF TE NAC TD SYC)" userId="909f4c56-f0bd-48e2-b5e6-c85fd07560b7" providerId="ADAL" clId="{1E5C054E-E3B6-424B-AA8A-AA7446ADABE8}" dt="2022-02-23T17:57:18.331" v="325" actId="114"/>
      <pc:docMkLst>
        <pc:docMk/>
      </pc:docMkLst>
      <pc:sldChg chg="modSp">
        <pc:chgData name="Wind-Larsen, Taus (SGRE OF TE NAC TD SYC)" userId="909f4c56-f0bd-48e2-b5e6-c85fd07560b7" providerId="ADAL" clId="{1E5C054E-E3B6-424B-AA8A-AA7446ADABE8}" dt="2022-02-21T19:12:35.383" v="60" actId="20577"/>
        <pc:sldMkLst>
          <pc:docMk/>
          <pc:sldMk cId="1320544008" sldId="286"/>
        </pc:sldMkLst>
      </pc:sldChg>
      <pc:sldChg chg="modSp mod">
        <pc:chgData name="Wind-Larsen, Taus (SGRE OF TE NAC TD SYC)" userId="909f4c56-f0bd-48e2-b5e6-c85fd07560b7" providerId="ADAL" clId="{1E5C054E-E3B6-424B-AA8A-AA7446ADABE8}" dt="2022-02-23T17:57:18.331" v="325" actId="114"/>
        <pc:sldMkLst>
          <pc:docMk/>
          <pc:sldMk cId="1840042121" sldId="293"/>
        </pc:sldMkLst>
      </pc:sldChg>
      <pc:sldChg chg="modSp add mod">
        <pc:chgData name="Wind-Larsen, Taus (SGRE OF TE NAC TD SYC)" userId="909f4c56-f0bd-48e2-b5e6-c85fd07560b7" providerId="ADAL" clId="{1E5C054E-E3B6-424B-AA8A-AA7446ADABE8}" dt="2022-02-23T15:18:39.995" v="238" actId="20577"/>
        <pc:sldMkLst>
          <pc:docMk/>
          <pc:sldMk cId="1468755633" sldId="299"/>
        </pc:sldMkLst>
      </pc:sldChg>
      <pc:sldChg chg="modSp mod">
        <pc:chgData name="Wind-Larsen, Taus (SGRE OF TE NAC TD SYC)" userId="909f4c56-f0bd-48e2-b5e6-c85fd07560b7" providerId="ADAL" clId="{1E5C054E-E3B6-424B-AA8A-AA7446ADABE8}" dt="2022-02-23T17:39:44.882" v="260" actId="20577"/>
        <pc:sldMkLst>
          <pc:docMk/>
          <pc:sldMk cId="284083800" sldId="310"/>
        </pc:sldMkLst>
      </pc:sldChg>
      <pc:sldChg chg="addSp delSp modSp add del mod setBg delDesignElem">
        <pc:chgData name="Wind-Larsen, Taus (SGRE OF TE NAC TD SYC)" userId="909f4c56-f0bd-48e2-b5e6-c85fd07560b7" providerId="ADAL" clId="{1E5C054E-E3B6-424B-AA8A-AA7446ADABE8}" dt="2022-02-21T21:56:35.839" v="180"/>
        <pc:sldMkLst>
          <pc:docMk/>
          <pc:sldMk cId="1384816204" sldId="346"/>
        </pc:sldMkLst>
      </pc:sldChg>
    </pc:docChg>
  </pc:docChgLst>
  <pc:docChgLst>
    <pc:chgData name="Lund, Vibeke" userId="S::vibeke.westenholz@siemensgamesa.com::be2c167c-cc21-4c23-92b1-78ba209712f0" providerId="AD" clId="Web-{3F523F87-3130-E829-1AD1-D5BFCB467B76}"/>
    <pc:docChg chg="addSld delSld modSld sldOrd modSection">
      <pc:chgData name="Lund, Vibeke" userId="S::vibeke.westenholz@siemensgamesa.com::be2c167c-cc21-4c23-92b1-78ba209712f0" providerId="AD" clId="Web-{3F523F87-3130-E829-1AD1-D5BFCB467B76}" dt="2025-01-21T07:37:14.248" v="161" actId="14100"/>
      <pc:docMkLst>
        <pc:docMk/>
      </pc:docMkLst>
      <pc:sldChg chg="modSp">
        <pc:chgData name="Lund, Vibeke" userId="S::vibeke.westenholz@siemensgamesa.com::be2c167c-cc21-4c23-92b1-78ba209712f0" providerId="AD" clId="Web-{3F523F87-3130-E829-1AD1-D5BFCB467B76}" dt="2025-01-21T07:37:14.248" v="161" actId="14100"/>
        <pc:sldMkLst>
          <pc:docMk/>
          <pc:sldMk cId="2028741205" sldId="256"/>
        </pc:sldMkLst>
        <pc:picChg chg="mod">
          <ac:chgData name="Lund, Vibeke" userId="S::vibeke.westenholz@siemensgamesa.com::be2c167c-cc21-4c23-92b1-78ba209712f0" providerId="AD" clId="Web-{3F523F87-3130-E829-1AD1-D5BFCB467B76}" dt="2025-01-21T07:37:14.248" v="161" actId="14100"/>
          <ac:picMkLst>
            <pc:docMk/>
            <pc:sldMk cId="2028741205" sldId="256"/>
            <ac:picMk id="7" creationId="{5FBD4355-6B08-4F0A-835B-3CB105FC4A45}"/>
          </ac:picMkLst>
        </pc:picChg>
      </pc:sldChg>
      <pc:sldChg chg="modSp">
        <pc:chgData name="Lund, Vibeke" userId="S::vibeke.westenholz@siemensgamesa.com::be2c167c-cc21-4c23-92b1-78ba209712f0" providerId="AD" clId="Web-{3F523F87-3130-E829-1AD1-D5BFCB467B76}" dt="2025-01-21T07:14:36.177" v="70" actId="20577"/>
        <pc:sldMkLst>
          <pc:docMk/>
          <pc:sldMk cId="1286349833" sldId="292"/>
        </pc:sldMkLst>
      </pc:sldChg>
      <pc:sldChg chg="modSp del">
        <pc:chgData name="Lund, Vibeke" userId="S::vibeke.westenholz@siemensgamesa.com::be2c167c-cc21-4c23-92b1-78ba209712f0" providerId="AD" clId="Web-{3F523F87-3130-E829-1AD1-D5BFCB467B76}" dt="2025-01-21T07:16:01.929" v="83"/>
        <pc:sldMkLst>
          <pc:docMk/>
          <pc:sldMk cId="1405606700" sldId="365"/>
        </pc:sldMkLst>
      </pc:sldChg>
      <pc:sldChg chg="modSp">
        <pc:chgData name="Lund, Vibeke" userId="S::vibeke.westenholz@siemensgamesa.com::be2c167c-cc21-4c23-92b1-78ba209712f0" providerId="AD" clId="Web-{3F523F87-3130-E829-1AD1-D5BFCB467B76}" dt="2025-01-21T07:35:31.651" v="156" actId="20577"/>
        <pc:sldMkLst>
          <pc:docMk/>
          <pc:sldMk cId="4184456199" sldId="367"/>
        </pc:sldMkLst>
        <pc:spChg chg="mod">
          <ac:chgData name="Lund, Vibeke" userId="S::vibeke.westenholz@siemensgamesa.com::be2c167c-cc21-4c23-92b1-78ba209712f0" providerId="AD" clId="Web-{3F523F87-3130-E829-1AD1-D5BFCB467B76}" dt="2025-01-21T07:35:31.651" v="156" actId="20577"/>
          <ac:spMkLst>
            <pc:docMk/>
            <pc:sldMk cId="4184456199" sldId="367"/>
            <ac:spMk id="21" creationId="{123F96DC-1532-F13E-5F02-FDA00F553A84}"/>
          </ac:spMkLst>
        </pc:spChg>
      </pc:sldChg>
      <pc:sldChg chg="addSp delSp modSp del ord">
        <pc:chgData name="Lund, Vibeke" userId="S::vibeke.westenholz@siemensgamesa.com::be2c167c-cc21-4c23-92b1-78ba209712f0" providerId="AD" clId="Web-{3F523F87-3130-E829-1AD1-D5BFCB467B76}" dt="2025-01-21T07:17:44.729" v="95"/>
        <pc:sldMkLst>
          <pc:docMk/>
          <pc:sldMk cId="3901689270" sldId="370"/>
        </pc:sldMkLst>
      </pc:sldChg>
      <pc:sldChg chg="modSp ord">
        <pc:chgData name="Lund, Vibeke" userId="S::vibeke.westenholz@siemensgamesa.com::be2c167c-cc21-4c23-92b1-78ba209712f0" providerId="AD" clId="Web-{3F523F87-3130-E829-1AD1-D5BFCB467B76}" dt="2025-01-21T07:18:31.605" v="100" actId="20577"/>
        <pc:sldMkLst>
          <pc:docMk/>
          <pc:sldMk cId="643992078" sldId="371"/>
        </pc:sldMkLst>
        <pc:spChg chg="mod">
          <ac:chgData name="Lund, Vibeke" userId="S::vibeke.westenholz@siemensgamesa.com::be2c167c-cc21-4c23-92b1-78ba209712f0" providerId="AD" clId="Web-{3F523F87-3130-E829-1AD1-D5BFCB467B76}" dt="2025-01-21T07:18:31.605" v="100" actId="20577"/>
          <ac:spMkLst>
            <pc:docMk/>
            <pc:sldMk cId="643992078" sldId="371"/>
            <ac:spMk id="6" creationId="{ECCB7D8A-828C-4A5A-87D9-D3FD263901E9}"/>
          </ac:spMkLst>
        </pc:spChg>
      </pc:sldChg>
      <pc:sldChg chg="modSp">
        <pc:chgData name="Lund, Vibeke" userId="S::vibeke.westenholz@siemensgamesa.com::be2c167c-cc21-4c23-92b1-78ba209712f0" providerId="AD" clId="Web-{3F523F87-3130-E829-1AD1-D5BFCB467B76}" dt="2025-01-21T07:36:23.402" v="157" actId="20577"/>
        <pc:sldMkLst>
          <pc:docMk/>
          <pc:sldMk cId="1257059004" sldId="374"/>
        </pc:sldMkLst>
      </pc:sldChg>
      <pc:sldChg chg="add ord replId">
        <pc:chgData name="Lund, Vibeke" userId="S::vibeke.westenholz@siemensgamesa.com::be2c167c-cc21-4c23-92b1-78ba209712f0" providerId="AD" clId="Web-{3F523F87-3130-E829-1AD1-D5BFCB467B76}" dt="2025-01-21T07:16:32.836" v="91"/>
        <pc:sldMkLst>
          <pc:docMk/>
          <pc:sldMk cId="3104882537" sldId="375"/>
        </pc:sldMkLst>
      </pc:sldChg>
      <pc:sldChg chg="new del">
        <pc:chgData name="Lund, Vibeke" userId="S::vibeke.westenholz@siemensgamesa.com::be2c167c-cc21-4c23-92b1-78ba209712f0" providerId="AD" clId="Web-{3F523F87-3130-E829-1AD1-D5BFCB467B76}" dt="2025-01-21T07:33:12.647" v="151"/>
        <pc:sldMkLst>
          <pc:docMk/>
          <pc:sldMk cId="504724058" sldId="376"/>
        </pc:sldMkLst>
      </pc:sldChg>
      <pc:sldChg chg="modSp new del">
        <pc:chgData name="Lund, Vibeke" userId="S::vibeke.westenholz@siemensgamesa.com::be2c167c-cc21-4c23-92b1-78ba209712f0" providerId="AD" clId="Web-{3F523F87-3130-E829-1AD1-D5BFCB467B76}" dt="2025-01-21T07:21:38.048" v="149"/>
        <pc:sldMkLst>
          <pc:docMk/>
          <pc:sldMk cId="3079071455" sldId="376"/>
        </pc:sldMkLst>
      </pc:sldChg>
    </pc:docChg>
  </pc:docChgLst>
  <pc:docChgLst>
    <pc:chgData name="Jakobsen, Lone (SGRE COG N SCL SM BDK)" userId="S::lone.jakobsen@siemensgamesa.com::b97f7784-7dac-40b5-a391-efabebb228d3" providerId="AD" clId="Web-{C037A412-6D10-E722-0AAD-3A04F64F75DC}"/>
    <pc:docChg chg="delSld modSld modSection">
      <pc:chgData name="Jakobsen, Lone (SGRE COG N SCL SM BDK)" userId="S::lone.jakobsen@siemensgamesa.com::b97f7784-7dac-40b5-a391-efabebb228d3" providerId="AD" clId="Web-{C037A412-6D10-E722-0AAD-3A04F64F75DC}" dt="2023-02-03T14:35:50.669" v="4"/>
      <pc:docMkLst>
        <pc:docMk/>
      </pc:docMkLst>
      <pc:sldChg chg="modSp">
        <pc:chgData name="Jakobsen, Lone (SGRE COG N SCL SM BDK)" userId="S::lone.jakobsen@siemensgamesa.com::b97f7784-7dac-40b5-a391-efabebb228d3" providerId="AD" clId="Web-{C037A412-6D10-E722-0AAD-3A04F64F75DC}" dt="2023-02-03T14:35:50.669" v="4"/>
        <pc:sldMkLst>
          <pc:docMk/>
          <pc:sldMk cId="1286349833" sldId="292"/>
        </pc:sldMkLst>
      </pc:sldChg>
      <pc:sldChg chg="del">
        <pc:chgData name="Jakobsen, Lone (SGRE COG N SCL SM BDK)" userId="S::lone.jakobsen@siemensgamesa.com::b97f7784-7dac-40b5-a391-efabebb228d3" providerId="AD" clId="Web-{C037A412-6D10-E722-0AAD-3A04F64F75DC}" dt="2023-02-03T14:33:57.305" v="0"/>
        <pc:sldMkLst>
          <pc:docMk/>
          <pc:sldMk cId="1231909040" sldId="339"/>
        </pc:sldMkLst>
      </pc:sldChg>
    </pc:docChg>
  </pc:docChgLst>
  <pc:docChgLst>
    <pc:chgData name="Lundemark, Michelle (SGRE COG N SCL SM BDK)" userId="S::michelle.lundemark@siemensgamesa.com::b6046ab8-d8e6-46a1-95a4-a447238e3b69" providerId="AD" clId="Web-{6658E288-C65C-D539-F84C-5FE2A009AC74}"/>
    <pc:docChg chg="addSld delSld modSection">
      <pc:chgData name="Lundemark, Michelle (SGRE COG N SCL SM BDK)" userId="S::michelle.lundemark@siemensgamesa.com::b6046ab8-d8e6-46a1-95a4-a447238e3b69" providerId="AD" clId="Web-{6658E288-C65C-D539-F84C-5FE2A009AC74}" dt="2024-02-07T09:49:01.289" v="1"/>
      <pc:docMkLst>
        <pc:docMk/>
      </pc:docMkLst>
      <pc:sldChg chg="del">
        <pc:chgData name="Lundemark, Michelle (SGRE COG N SCL SM BDK)" userId="S::michelle.lundemark@siemensgamesa.com::b6046ab8-d8e6-46a1-95a4-a447238e3b69" providerId="AD" clId="Web-{6658E288-C65C-D539-F84C-5FE2A009AC74}" dt="2024-02-07T09:49:01.289" v="1"/>
        <pc:sldMkLst>
          <pc:docMk/>
          <pc:sldMk cId="4087205575" sldId="323"/>
        </pc:sldMkLst>
      </pc:sldChg>
      <pc:sldChg chg="add">
        <pc:chgData name="Lundemark, Michelle (SGRE COG N SCL SM BDK)" userId="S::michelle.lundemark@siemensgamesa.com::b6046ab8-d8e6-46a1-95a4-a447238e3b69" providerId="AD" clId="Web-{6658E288-C65C-D539-F84C-5FE2A009AC74}" dt="2024-02-07T09:48:49.054" v="0"/>
        <pc:sldMkLst>
          <pc:docMk/>
          <pc:sldMk cId="1231671585" sldId="382"/>
        </pc:sldMkLst>
      </pc:sldChg>
      <pc:sldMasterChg chg="addSldLayout">
        <pc:chgData name="Lundemark, Michelle (SGRE COG N SCL SM BDK)" userId="S::michelle.lundemark@siemensgamesa.com::b6046ab8-d8e6-46a1-95a4-a447238e3b69" providerId="AD" clId="Web-{6658E288-C65C-D539-F84C-5FE2A009AC74}" dt="2024-02-07T09:48:49.054" v="0"/>
        <pc:sldMasterMkLst>
          <pc:docMk/>
          <pc:sldMasterMk cId="72354714" sldId="2147483648"/>
        </pc:sldMasterMkLst>
        <pc:sldLayoutChg chg="add replId">
          <pc:chgData name="Lundemark, Michelle (SGRE COG N SCL SM BDK)" userId="S::michelle.lundemark@siemensgamesa.com::b6046ab8-d8e6-46a1-95a4-a447238e3b69" providerId="AD" clId="Web-{6658E288-C65C-D539-F84C-5FE2A009AC74}" dt="2024-02-07T09:48:49.054" v="0"/>
          <pc:sldLayoutMkLst>
            <pc:docMk/>
            <pc:sldMasterMk cId="72354714" sldId="2147483648"/>
            <pc:sldLayoutMk cId="723988144" sldId="2147483702"/>
          </pc:sldLayoutMkLst>
        </pc:sldLayoutChg>
      </pc:sldMasterChg>
    </pc:docChg>
  </pc:docChgLst>
  <pc:docChgLst>
    <pc:chgData name="Soelberg, Torbjoern" userId="f3cb2cb1-006e-47a7-b330-9498e7ecbc1e" providerId="ADAL" clId="{86000C2C-1214-4440-A216-64F2C394AEFC}"/>
    <pc:docChg chg="undo custSel modSld">
      <pc:chgData name="Soelberg, Torbjoern" userId="f3cb2cb1-006e-47a7-b330-9498e7ecbc1e" providerId="ADAL" clId="{86000C2C-1214-4440-A216-64F2C394AEFC}" dt="2025-02-09T18:31:33.488" v="339" actId="255"/>
      <pc:docMkLst>
        <pc:docMk/>
      </pc:docMkLst>
      <pc:sldChg chg="modSp mod">
        <pc:chgData name="Soelberg, Torbjoern" userId="f3cb2cb1-006e-47a7-b330-9498e7ecbc1e" providerId="ADAL" clId="{86000C2C-1214-4440-A216-64F2C394AEFC}" dt="2025-02-09T18:26:11.219" v="232" actId="20577"/>
        <pc:sldMkLst>
          <pc:docMk/>
          <pc:sldMk cId="3364927441" sldId="379"/>
        </pc:sldMkLst>
        <pc:spChg chg="mod">
          <ac:chgData name="Soelberg, Torbjoern" userId="f3cb2cb1-006e-47a7-b330-9498e7ecbc1e" providerId="ADAL" clId="{86000C2C-1214-4440-A216-64F2C394AEFC}" dt="2025-02-09T18:26:11.219" v="232" actId="20577"/>
          <ac:spMkLst>
            <pc:docMk/>
            <pc:sldMk cId="3364927441" sldId="379"/>
            <ac:spMk id="21" creationId="{88C9D2E2-6E59-671F-394D-B9645165F24D}"/>
          </ac:spMkLst>
        </pc:spChg>
      </pc:sldChg>
      <pc:sldChg chg="modSp mod">
        <pc:chgData name="Soelberg, Torbjoern" userId="f3cb2cb1-006e-47a7-b330-9498e7ecbc1e" providerId="ADAL" clId="{86000C2C-1214-4440-A216-64F2C394AEFC}" dt="2025-02-09T18:31:33.488" v="339" actId="255"/>
        <pc:sldMkLst>
          <pc:docMk/>
          <pc:sldMk cId="2355099778" sldId="380"/>
        </pc:sldMkLst>
        <pc:spChg chg="mod">
          <ac:chgData name="Soelberg, Torbjoern" userId="f3cb2cb1-006e-47a7-b330-9498e7ecbc1e" providerId="ADAL" clId="{86000C2C-1214-4440-A216-64F2C394AEFC}" dt="2025-02-09T18:31:33.488" v="339" actId="255"/>
          <ac:spMkLst>
            <pc:docMk/>
            <pc:sldMk cId="2355099778" sldId="380"/>
            <ac:spMk id="21" creationId="{88C9D2E2-6E59-671F-394D-B9645165F24D}"/>
          </ac:spMkLst>
        </pc:spChg>
      </pc:sldChg>
    </pc:docChg>
  </pc:docChgLst>
  <pc:docChgLst>
    <pc:chgData name="Simmelkjaer, Pia Butzkowsky (SGRE SE SP&amp;S SO SOM NE&amp;ME)" userId="S::pia.simmelkjaer@siemensgamesa.com::ecd52c23-7eb3-48b2-8414-fa14d3e833f8" providerId="AD" clId="Web-{5EE2A32A-F04A-4FC5-F2D2-0F097BCFDA42}"/>
    <pc:docChg chg="modSld sldOrd">
      <pc:chgData name="Simmelkjaer, Pia Butzkowsky (SGRE SE SP&amp;S SO SOM NE&amp;ME)" userId="S::pia.simmelkjaer@siemensgamesa.com::ecd52c23-7eb3-48b2-8414-fa14d3e833f8" providerId="AD" clId="Web-{5EE2A32A-F04A-4FC5-F2D2-0F097BCFDA42}" dt="2024-02-02T09:35:27.759" v="6" actId="20577"/>
      <pc:docMkLst>
        <pc:docMk/>
      </pc:docMkLst>
      <pc:sldChg chg="modSp ord">
        <pc:chgData name="Simmelkjaer, Pia Butzkowsky (SGRE SE SP&amp;S SO SOM NE&amp;ME)" userId="S::pia.simmelkjaer@siemensgamesa.com::ecd52c23-7eb3-48b2-8414-fa14d3e833f8" providerId="AD" clId="Web-{5EE2A32A-F04A-4FC5-F2D2-0F097BCFDA42}" dt="2024-02-02T09:35:27.759" v="6" actId="20577"/>
        <pc:sldMkLst>
          <pc:docMk/>
          <pc:sldMk cId="1587693403" sldId="349"/>
        </pc:sldMkLst>
      </pc:sldChg>
    </pc:docChg>
  </pc:docChgLst>
  <pc:docChgLst>
    <pc:chgData name="Wind-Larsen, Taus (SGRE TE N NT SYC&amp;MAT)" userId="S::taus.wind-larsen@siemensgamesa.com::909f4c56-f0bd-48e2-b5e6-c85fd07560b7" providerId="AD" clId="Web-{81D4019E-BEFF-BC49-3FBC-B3729A26D3C0}"/>
    <pc:docChg chg="addSld modSld modSection">
      <pc:chgData name="Wind-Larsen, Taus (SGRE TE N NT SYC&amp;MAT)" userId="S::taus.wind-larsen@siemensgamesa.com::909f4c56-f0bd-48e2-b5e6-c85fd07560b7" providerId="AD" clId="Web-{81D4019E-BEFF-BC49-3FBC-B3729A26D3C0}" dt="2023-02-21T11:29:40.045" v="101" actId="20577"/>
      <pc:docMkLst>
        <pc:docMk/>
      </pc:docMkLst>
      <pc:sldChg chg="modSp">
        <pc:chgData name="Wind-Larsen, Taus (SGRE TE N NT SYC&amp;MAT)" userId="S::taus.wind-larsen@siemensgamesa.com::909f4c56-f0bd-48e2-b5e6-c85fd07560b7" providerId="AD" clId="Web-{81D4019E-BEFF-BC49-3FBC-B3729A26D3C0}" dt="2023-02-21T11:11:56.603" v="32" actId="20577"/>
        <pc:sldMkLst>
          <pc:docMk/>
          <pc:sldMk cId="1840042121" sldId="293"/>
        </pc:sldMkLst>
      </pc:sldChg>
      <pc:sldChg chg="modSp">
        <pc:chgData name="Wind-Larsen, Taus (SGRE TE N NT SYC&amp;MAT)" userId="S::taus.wind-larsen@siemensgamesa.com::909f4c56-f0bd-48e2-b5e6-c85fd07560b7" providerId="AD" clId="Web-{81D4019E-BEFF-BC49-3FBC-B3729A26D3C0}" dt="2023-02-21T11:29:40.045" v="101" actId="20577"/>
        <pc:sldMkLst>
          <pc:docMk/>
          <pc:sldMk cId="284083800" sldId="310"/>
        </pc:sldMkLst>
      </pc:sldChg>
      <pc:sldChg chg="addSp delSp modSp new">
        <pc:chgData name="Wind-Larsen, Taus (SGRE TE N NT SYC&amp;MAT)" userId="S::taus.wind-larsen@siemensgamesa.com::909f4c56-f0bd-48e2-b5e6-c85fd07560b7" providerId="AD" clId="Web-{81D4019E-BEFF-BC49-3FBC-B3729A26D3C0}" dt="2023-02-21T11:15:15.328" v="39"/>
        <pc:sldMkLst>
          <pc:docMk/>
          <pc:sldMk cId="2076336558" sldId="350"/>
        </pc:sldMkLst>
      </pc:sldChg>
    </pc:docChg>
  </pc:docChgLst>
  <pc:docChgLst>
    <pc:chgData name="Lund, Vibeke" userId="S::vibeke.westenholz@siemensgamesa.com::be2c167c-cc21-4c23-92b1-78ba209712f0" providerId="AD" clId="Web-{5CA8FB06-A681-D20B-E6A3-D6D17169D9BA}"/>
    <pc:docChg chg="modSld">
      <pc:chgData name="Lund, Vibeke" userId="S::vibeke.westenholz@siemensgamesa.com::be2c167c-cc21-4c23-92b1-78ba209712f0" providerId="AD" clId="Web-{5CA8FB06-A681-D20B-E6A3-D6D17169D9BA}" dt="2025-01-28T08:15:37.039" v="1"/>
      <pc:docMkLst>
        <pc:docMk/>
      </pc:docMkLst>
      <pc:sldChg chg="modSp">
        <pc:chgData name="Lund, Vibeke" userId="S::vibeke.westenholz@siemensgamesa.com::be2c167c-cc21-4c23-92b1-78ba209712f0" providerId="AD" clId="Web-{5CA8FB06-A681-D20B-E6A3-D6D17169D9BA}" dt="2025-01-28T08:15:37.039" v="1"/>
        <pc:sldMkLst>
          <pc:docMk/>
          <pc:sldMk cId="1462526466" sldId="369"/>
        </pc:sldMkLst>
        <pc:graphicFrameChg chg="mod modGraphic">
          <ac:chgData name="Lund, Vibeke" userId="S::vibeke.westenholz@siemensgamesa.com::be2c167c-cc21-4c23-92b1-78ba209712f0" providerId="AD" clId="Web-{5CA8FB06-A681-D20B-E6A3-D6D17169D9BA}" dt="2025-01-28T08:15:37.039" v="1"/>
          <ac:graphicFrameMkLst>
            <pc:docMk/>
            <pc:sldMk cId="1462526466" sldId="369"/>
            <ac:graphicFrameMk id="3" creationId="{D488FA64-A4FC-4547-943F-86CB8849E592}"/>
          </ac:graphicFrameMkLst>
        </pc:graphicFrameChg>
      </pc:sldChg>
    </pc:docChg>
  </pc:docChgLst>
  <pc:docChgLst>
    <pc:chgData name="Lund, Vibeke (SGRE COG P&amp;LOG NE&amp;ME)" userId="S::vibeke.westenholz@siemensgamesa.com::be2c167c-cc21-4c23-92b1-78ba209712f0" providerId="AD" clId="Web-{D1F31813-895A-C240-9A3F-82D829FA5282}"/>
    <pc:docChg chg="delSld modSld sldOrd modSection">
      <pc:chgData name="Lund, Vibeke (SGRE COG P&amp;LOG NE&amp;ME)" userId="S::vibeke.westenholz@siemensgamesa.com::be2c167c-cc21-4c23-92b1-78ba209712f0" providerId="AD" clId="Web-{D1F31813-895A-C240-9A3F-82D829FA5282}" dt="2024-02-02T10:34:29.174" v="927" actId="20577"/>
      <pc:docMkLst>
        <pc:docMk/>
      </pc:docMkLst>
      <pc:sldChg chg="modSp">
        <pc:chgData name="Lund, Vibeke (SGRE COG P&amp;LOG NE&amp;ME)" userId="S::vibeke.westenholz@siemensgamesa.com::be2c167c-cc21-4c23-92b1-78ba209712f0" providerId="AD" clId="Web-{D1F31813-895A-C240-9A3F-82D829FA5282}" dt="2024-02-02T09:13:21.154" v="1" actId="20577"/>
        <pc:sldMkLst>
          <pc:docMk/>
          <pc:sldMk cId="2028741205" sldId="256"/>
        </pc:sldMkLst>
      </pc:sldChg>
      <pc:sldChg chg="modSp ord">
        <pc:chgData name="Lund, Vibeke (SGRE COG P&amp;LOG NE&amp;ME)" userId="S::vibeke.westenholz@siemensgamesa.com::be2c167c-cc21-4c23-92b1-78ba209712f0" providerId="AD" clId="Web-{D1F31813-895A-C240-9A3F-82D829FA5282}" dt="2024-02-02T10:05:13.564" v="217" actId="20577"/>
        <pc:sldMkLst>
          <pc:docMk/>
          <pc:sldMk cId="1109116256" sldId="257"/>
        </pc:sldMkLst>
      </pc:sldChg>
      <pc:sldChg chg="modSp del">
        <pc:chgData name="Lund, Vibeke (SGRE COG P&amp;LOG NE&amp;ME)" userId="S::vibeke.westenholz@siemensgamesa.com::be2c167c-cc21-4c23-92b1-78ba209712f0" providerId="AD" clId="Web-{D1F31813-895A-C240-9A3F-82D829FA5282}" dt="2024-02-02T09:45:39.414" v="190"/>
        <pc:sldMkLst>
          <pc:docMk/>
          <pc:sldMk cId="469205521" sldId="260"/>
        </pc:sldMkLst>
      </pc:sldChg>
      <pc:sldChg chg="delSp modSp">
        <pc:chgData name="Lund, Vibeke (SGRE COG P&amp;LOG NE&amp;ME)" userId="S::vibeke.westenholz@siemensgamesa.com::be2c167c-cc21-4c23-92b1-78ba209712f0" providerId="AD" clId="Web-{D1F31813-895A-C240-9A3F-82D829FA5282}" dt="2024-02-02T09:25:23.974" v="183" actId="20577"/>
        <pc:sldMkLst>
          <pc:docMk/>
          <pc:sldMk cId="3526056995" sldId="261"/>
        </pc:sldMkLst>
      </pc:sldChg>
      <pc:sldChg chg="modSp">
        <pc:chgData name="Lund, Vibeke (SGRE COG P&amp;LOG NE&amp;ME)" userId="S::vibeke.westenholz@siemensgamesa.com::be2c167c-cc21-4c23-92b1-78ba209712f0" providerId="AD" clId="Web-{D1F31813-895A-C240-9A3F-82D829FA5282}" dt="2024-02-02T09:24:09.988" v="172" actId="20577"/>
        <pc:sldMkLst>
          <pc:docMk/>
          <pc:sldMk cId="577488301" sldId="318"/>
        </pc:sldMkLst>
      </pc:sldChg>
      <pc:sldChg chg="modSp">
        <pc:chgData name="Lund, Vibeke (SGRE COG P&amp;LOG NE&amp;ME)" userId="S::vibeke.westenholz@siemensgamesa.com::be2c167c-cc21-4c23-92b1-78ba209712f0" providerId="AD" clId="Web-{D1F31813-895A-C240-9A3F-82D829FA5282}" dt="2024-02-02T10:34:29.174" v="927" actId="20577"/>
        <pc:sldMkLst>
          <pc:docMk/>
          <pc:sldMk cId="1211001049" sldId="345"/>
        </pc:sldMkLst>
      </pc:sldChg>
    </pc:docChg>
  </pc:docChgLst>
  <pc:docChgLst>
    <pc:chgData name="Schadwinkel, Tabea (SGRE ON NE&amp;ME PM PM-PD2)" userId="34305b5f-5da0-45ec-9d22-513723642f31" providerId="ADAL" clId="{FE417FA4-C038-4AFC-90CF-8682E29C8F64}"/>
    <pc:docChg chg="undo custSel addSld modSld modMainMaster modSection">
      <pc:chgData name="Schadwinkel, Tabea (SGRE ON NE&amp;ME PM PM-PD2)" userId="34305b5f-5da0-45ec-9d22-513723642f31" providerId="ADAL" clId="{FE417FA4-C038-4AFC-90CF-8682E29C8F64}" dt="2023-02-03T12:48:09.674" v="1332" actId="20577"/>
      <pc:docMkLst>
        <pc:docMk/>
      </pc:docMkLst>
      <pc:sldChg chg="addSp modSp">
        <pc:chgData name="Schadwinkel, Tabea (SGRE ON NE&amp;ME PM PM-PD2)" userId="34305b5f-5da0-45ec-9d22-513723642f31" providerId="ADAL" clId="{FE417FA4-C038-4AFC-90CF-8682E29C8F64}" dt="2023-02-03T12:45:49.310" v="925"/>
        <pc:sldMkLst>
          <pc:docMk/>
          <pc:sldMk cId="1109116256" sldId="257"/>
        </pc:sldMkLst>
      </pc:sldChg>
      <pc:sldChg chg="addSp modSp">
        <pc:chgData name="Schadwinkel, Tabea (SGRE ON NE&amp;ME PM PM-PD2)" userId="34305b5f-5da0-45ec-9d22-513723642f31" providerId="ADAL" clId="{FE417FA4-C038-4AFC-90CF-8682E29C8F64}" dt="2023-02-03T12:45:44.088" v="924"/>
        <pc:sldMkLst>
          <pc:docMk/>
          <pc:sldMk cId="469205521" sldId="260"/>
        </pc:sldMkLst>
      </pc:sldChg>
      <pc:sldChg chg="addSp modSp">
        <pc:chgData name="Schadwinkel, Tabea (SGRE ON NE&amp;ME PM PM-PD2)" userId="34305b5f-5da0-45ec-9d22-513723642f31" providerId="ADAL" clId="{FE417FA4-C038-4AFC-90CF-8682E29C8F64}" dt="2023-02-03T12:45:33.879" v="922"/>
        <pc:sldMkLst>
          <pc:docMk/>
          <pc:sldMk cId="3526056995" sldId="261"/>
        </pc:sldMkLst>
      </pc:sldChg>
      <pc:sldChg chg="addSp delSp modSp mod">
        <pc:chgData name="Schadwinkel, Tabea (SGRE ON NE&amp;ME PM PM-PD2)" userId="34305b5f-5da0-45ec-9d22-513723642f31" providerId="ADAL" clId="{FE417FA4-C038-4AFC-90CF-8682E29C8F64}" dt="2023-02-03T09:43:40.816" v="102"/>
        <pc:sldMkLst>
          <pc:docMk/>
          <pc:sldMk cId="1618370001" sldId="271"/>
        </pc:sldMkLst>
      </pc:sldChg>
      <pc:sldChg chg="modSp mod modNotesTx">
        <pc:chgData name="Schadwinkel, Tabea (SGRE ON NE&amp;ME PM PM-PD2)" userId="34305b5f-5da0-45ec-9d22-513723642f31" providerId="ADAL" clId="{FE417FA4-C038-4AFC-90CF-8682E29C8F64}" dt="2023-02-03T10:13:52.536" v="883" actId="20577"/>
        <pc:sldMkLst>
          <pc:docMk/>
          <pc:sldMk cId="3563952106" sldId="284"/>
        </pc:sldMkLst>
      </pc:sldChg>
      <pc:sldChg chg="addSp modSp mod">
        <pc:chgData name="Schadwinkel, Tabea (SGRE ON NE&amp;ME PM PM-PD2)" userId="34305b5f-5da0-45ec-9d22-513723642f31" providerId="ADAL" clId="{FE417FA4-C038-4AFC-90CF-8682E29C8F64}" dt="2023-02-03T12:46:33.717" v="937" actId="20577"/>
        <pc:sldMkLst>
          <pc:docMk/>
          <pc:sldMk cId="1320544008" sldId="286"/>
        </pc:sldMkLst>
      </pc:sldChg>
      <pc:sldChg chg="addSp modSp mod">
        <pc:chgData name="Schadwinkel, Tabea (SGRE ON NE&amp;ME PM PM-PD2)" userId="34305b5f-5da0-45ec-9d22-513723642f31" providerId="ADAL" clId="{FE417FA4-C038-4AFC-90CF-8682E29C8F64}" dt="2023-02-03T12:44:12.796" v="897" actId="20577"/>
        <pc:sldMkLst>
          <pc:docMk/>
          <pc:sldMk cId="1286349833" sldId="292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483631185" sldId="294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176653745" sldId="296"/>
        </pc:sldMkLst>
      </pc:sldChg>
      <pc:sldChg chg="addSp modSp mod">
        <pc:chgData name="Schadwinkel, Tabea (SGRE ON NE&amp;ME PM PM-PD2)" userId="34305b5f-5da0-45ec-9d22-513723642f31" providerId="ADAL" clId="{FE417FA4-C038-4AFC-90CF-8682E29C8F64}" dt="2023-02-03T12:46:04.127" v="930" actId="20577"/>
        <pc:sldMkLst>
          <pc:docMk/>
          <pc:sldMk cId="1468755633" sldId="299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84083800" sldId="310"/>
        </pc:sldMkLst>
      </pc:sldChg>
      <pc:sldChg chg="addSp modSp">
        <pc:chgData name="Schadwinkel, Tabea (SGRE ON NE&amp;ME PM PM-PD2)" userId="34305b5f-5da0-45ec-9d22-513723642f31" providerId="ADAL" clId="{FE417FA4-C038-4AFC-90CF-8682E29C8F64}" dt="2023-02-03T12:44:51.813" v="903"/>
        <pc:sldMkLst>
          <pc:docMk/>
          <pc:sldMk cId="3672746191" sldId="313"/>
        </pc:sldMkLst>
      </pc:sldChg>
      <pc:sldChg chg="addSp modSp mod">
        <pc:chgData name="Schadwinkel, Tabea (SGRE ON NE&amp;ME PM PM-PD2)" userId="34305b5f-5da0-45ec-9d22-513723642f31" providerId="ADAL" clId="{FE417FA4-C038-4AFC-90CF-8682E29C8F64}" dt="2023-02-03T12:44:47.051" v="902" actId="20577"/>
        <pc:sldMkLst>
          <pc:docMk/>
          <pc:sldMk cId="1209066160" sldId="314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00653347" sldId="315"/>
        </pc:sldMkLst>
      </pc:sldChg>
      <pc:sldChg chg="addSp modSp mod">
        <pc:chgData name="Schadwinkel, Tabea (SGRE ON NE&amp;ME PM PM-PD2)" userId="34305b5f-5da0-45ec-9d22-513723642f31" providerId="ADAL" clId="{FE417FA4-C038-4AFC-90CF-8682E29C8F64}" dt="2023-02-03T12:45:30.529" v="921" actId="1076"/>
        <pc:sldMkLst>
          <pc:docMk/>
          <pc:sldMk cId="577488301" sldId="318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558325371" sldId="322"/>
        </pc:sldMkLst>
      </pc:sldChg>
      <pc:sldChg chg="addSp delSp modSp mod">
        <pc:chgData name="Schadwinkel, Tabea (SGRE ON NE&amp;ME PM PM-PD2)" userId="34305b5f-5da0-45ec-9d22-513723642f31" providerId="ADAL" clId="{FE417FA4-C038-4AFC-90CF-8682E29C8F64}" dt="2023-02-03T12:47:32.950" v="1111" actId="20577"/>
        <pc:sldMkLst>
          <pc:docMk/>
          <pc:sldMk cId="4087205575" sldId="323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371835148" sldId="329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839263946" sldId="330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4141118460" sldId="331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768869850" sldId="332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3521793" sldId="333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882169009" sldId="334"/>
        </pc:sldMkLst>
      </pc:sldChg>
      <pc:sldChg chg="addSp modSp mod">
        <pc:chgData name="Schadwinkel, Tabea (SGRE ON NE&amp;ME PM PM-PD2)" userId="34305b5f-5da0-45ec-9d22-513723642f31" providerId="ADAL" clId="{FE417FA4-C038-4AFC-90CF-8682E29C8F64}" dt="2023-02-03T12:45:18.219" v="911" actId="1076"/>
        <pc:sldMkLst>
          <pc:docMk/>
          <pc:sldMk cId="3047106097" sldId="335"/>
        </pc:sldMkLst>
      </pc:sldChg>
      <pc:sldChg chg="addSp modSp">
        <pc:chgData name="Schadwinkel, Tabea (SGRE ON NE&amp;ME PM PM-PD2)" userId="34305b5f-5da0-45ec-9d22-513723642f31" providerId="ADAL" clId="{FE417FA4-C038-4AFC-90CF-8682E29C8F64}" dt="2023-02-03T12:44:55.016" v="904"/>
        <pc:sldMkLst>
          <pc:docMk/>
          <pc:sldMk cId="995067089" sldId="336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479969689" sldId="337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084079554" sldId="338"/>
        </pc:sldMkLst>
      </pc:sldChg>
      <pc:sldChg chg="addSp modSp mod">
        <pc:chgData name="Schadwinkel, Tabea (SGRE ON NE&amp;ME PM PM-PD2)" userId="34305b5f-5da0-45ec-9d22-513723642f31" providerId="ADAL" clId="{FE417FA4-C038-4AFC-90CF-8682E29C8F64}" dt="2023-02-03T12:43:59.399" v="888" actId="20577"/>
        <pc:sldMkLst>
          <pc:docMk/>
          <pc:sldMk cId="1231909040" sldId="339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983236087" sldId="340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018643726" sldId="341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611808819" sldId="342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831290368" sldId="343"/>
        </pc:sldMkLst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138284291" sldId="344"/>
        </pc:sldMkLst>
      </pc:sldChg>
      <pc:sldChg chg="addSp modSp">
        <pc:chgData name="Schadwinkel, Tabea (SGRE ON NE&amp;ME PM PM-PD2)" userId="34305b5f-5da0-45ec-9d22-513723642f31" providerId="ADAL" clId="{FE417FA4-C038-4AFC-90CF-8682E29C8F64}" dt="2023-02-03T12:45:38.921" v="923"/>
        <pc:sldMkLst>
          <pc:docMk/>
          <pc:sldMk cId="1211001049" sldId="345"/>
        </pc:sldMkLst>
      </pc:sldChg>
      <pc:sldChg chg="addSp delSp modSp add mod">
        <pc:chgData name="Schadwinkel, Tabea (SGRE ON NE&amp;ME PM PM-PD2)" userId="34305b5f-5da0-45ec-9d22-513723642f31" providerId="ADAL" clId="{FE417FA4-C038-4AFC-90CF-8682E29C8F64}" dt="2023-02-03T12:48:09.674" v="1332" actId="20577"/>
        <pc:sldMkLst>
          <pc:docMk/>
          <pc:sldMk cId="3844324542" sldId="347"/>
        </pc:sldMkLst>
      </pc:sldChg>
      <pc:sldMasterChg chg="addSp delSp modSp mod">
        <pc:chgData name="Schadwinkel, Tabea (SGRE ON NE&amp;ME PM PM-PD2)" userId="34305b5f-5da0-45ec-9d22-513723642f31" providerId="ADAL" clId="{FE417FA4-C038-4AFC-90CF-8682E29C8F64}" dt="2023-02-03T09:43:40.806" v="98"/>
        <pc:sldMasterMkLst>
          <pc:docMk/>
          <pc:sldMasterMk cId="4062162087" sldId="2147483702"/>
        </pc:sldMasterMkLst>
      </pc:sldMasterChg>
    </pc:docChg>
  </pc:docChgLst>
  <pc:docChgLst>
    <pc:chgData name="Lund, Vibeke (SGRE COG N P M&amp;H)" userId="S::vibeke.westenholz@siemensgamesa.com::be2c167c-cc21-4c23-92b1-78ba209712f0" providerId="AD" clId="Web-{DBD15119-EC65-F9F1-3630-21455B14DF34}"/>
    <pc:docChg chg="addSld delSld modSld modSection">
      <pc:chgData name="Lund, Vibeke (SGRE COG N P M&amp;H)" userId="S::vibeke.westenholz@siemensgamesa.com::be2c167c-cc21-4c23-92b1-78ba209712f0" providerId="AD" clId="Web-{DBD15119-EC65-F9F1-3630-21455B14DF34}" dt="2023-02-03T13:56:57.418" v="262" actId="1076"/>
      <pc:docMkLst>
        <pc:docMk/>
      </pc:docMkLst>
      <pc:sldChg chg="modSp">
        <pc:chgData name="Lund, Vibeke (SGRE COG N P M&amp;H)" userId="S::vibeke.westenholz@siemensgamesa.com::be2c167c-cc21-4c23-92b1-78ba209712f0" providerId="AD" clId="Web-{DBD15119-EC65-F9F1-3630-21455B14DF34}" dt="2023-02-03T12:52:00.499" v="17" actId="20577"/>
        <pc:sldMkLst>
          <pc:docMk/>
          <pc:sldMk cId="1320544008" sldId="286"/>
        </pc:sldMkLst>
      </pc:sldChg>
      <pc:sldChg chg="addSp modSp">
        <pc:chgData name="Lund, Vibeke (SGRE COG N P M&amp;H)" userId="S::vibeke.westenholz@siemensgamesa.com::be2c167c-cc21-4c23-92b1-78ba209712f0" providerId="AD" clId="Web-{DBD15119-EC65-F9F1-3630-21455B14DF34}" dt="2023-02-03T13:40:23.016" v="226" actId="20577"/>
        <pc:sldMkLst>
          <pc:docMk/>
          <pc:sldMk cId="3176653745" sldId="296"/>
        </pc:sldMkLst>
      </pc:sldChg>
      <pc:sldChg chg="modSp">
        <pc:chgData name="Lund, Vibeke (SGRE COG N P M&amp;H)" userId="S::vibeke.westenholz@siemensgamesa.com::be2c167c-cc21-4c23-92b1-78ba209712f0" providerId="AD" clId="Web-{DBD15119-EC65-F9F1-3630-21455B14DF34}" dt="2023-02-03T13:19:26.059" v="122" actId="20577"/>
        <pc:sldMkLst>
          <pc:docMk/>
          <pc:sldMk cId="284083800" sldId="310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12.826" v="126"/>
        <pc:sldMkLst>
          <pc:docMk/>
          <pc:sldMk cId="100653347" sldId="315"/>
        </pc:sldMkLst>
      </pc:sldChg>
      <pc:sldChg chg="addSp delSp modSp">
        <pc:chgData name="Lund, Vibeke (SGRE COG N P M&amp;H)" userId="S::vibeke.westenholz@siemensgamesa.com::be2c167c-cc21-4c23-92b1-78ba209712f0" providerId="AD" clId="Web-{DBD15119-EC65-F9F1-3630-21455B14DF34}" dt="2023-02-03T13:56:57.418" v="262" actId="1076"/>
        <pc:sldMkLst>
          <pc:docMk/>
          <pc:sldMk cId="4087205575" sldId="323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1:54.501" v="131"/>
        <pc:sldMkLst>
          <pc:docMk/>
          <pc:sldMk cId="1371835148" sldId="329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2:03.111" v="132"/>
        <pc:sldMkLst>
          <pc:docMk/>
          <pc:sldMk cId="3839263946" sldId="330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25.842" v="127"/>
        <pc:sldMkLst>
          <pc:docMk/>
          <pc:sldMk cId="4141118460" sldId="331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33:12.598" v="224"/>
        <pc:sldMkLst>
          <pc:docMk/>
          <pc:sldMk cId="2768869850" sldId="332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1:11.437" v="130"/>
        <pc:sldMkLst>
          <pc:docMk/>
          <pc:sldMk cId="13521793" sldId="333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58.156" v="129"/>
        <pc:sldMkLst>
          <pc:docMk/>
          <pc:sldMk cId="1882169009" sldId="334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8:03.713" v="106"/>
        <pc:sldMkLst>
          <pc:docMk/>
          <pc:sldMk cId="479969689" sldId="337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8:08.698" v="107"/>
        <pc:sldMkLst>
          <pc:docMk/>
          <pc:sldMk cId="3084079554" sldId="338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8:30.464" v="108"/>
        <pc:sldMkLst>
          <pc:docMk/>
          <pc:sldMk cId="3983236087" sldId="340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9:34.153" v="123"/>
        <pc:sldMkLst>
          <pc:docMk/>
          <pc:sldMk cId="2018643726" sldId="341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9:54.576" v="124"/>
        <pc:sldMkLst>
          <pc:docMk/>
          <pc:sldMk cId="1611808819" sldId="342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03.561" v="125"/>
        <pc:sldMkLst>
          <pc:docMk/>
          <pc:sldMk cId="1831290368" sldId="343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2:53:37.486" v="18"/>
        <pc:sldMkLst>
          <pc:docMk/>
          <pc:sldMk cId="2138284291" sldId="344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42.265" v="128"/>
        <pc:sldMkLst>
          <pc:docMk/>
          <pc:sldMk cId="1384816204" sldId="346"/>
        </pc:sldMkLst>
      </pc:sldChg>
      <pc:sldChg chg="addSp delSp modSp new mod modClrScheme chgLayout">
        <pc:chgData name="Lund, Vibeke (SGRE COG N P M&amp;H)" userId="S::vibeke.westenholz@siemensgamesa.com::be2c167c-cc21-4c23-92b1-78ba209712f0" providerId="AD" clId="Web-{DBD15119-EC65-F9F1-3630-21455B14DF34}" dt="2023-02-03T13:32:20.612" v="223" actId="20577"/>
        <pc:sldMkLst>
          <pc:docMk/>
          <pc:sldMk cId="3870458832" sldId="348"/>
        </pc:sldMkLst>
      </pc:sldChg>
    </pc:docChg>
  </pc:docChgLst>
  <pc:docChgLst>
    <pc:chgData name="Wind-Larsen, Taus (SGRE TE N NT SYC&amp;MAT)" userId="S::taus.wind-larsen@siemensgamesa.com::909f4c56-f0bd-48e2-b5e6-c85fd07560b7" providerId="AD" clId="Web-{9E70D22E-040F-626E-DF20-E3FE110949F0}"/>
    <pc:docChg chg="modSld">
      <pc:chgData name="Wind-Larsen, Taus (SGRE TE N NT SYC&amp;MAT)" userId="S::taus.wind-larsen@siemensgamesa.com::909f4c56-f0bd-48e2-b5e6-c85fd07560b7" providerId="AD" clId="Web-{9E70D22E-040F-626E-DF20-E3FE110949F0}" dt="2023-10-19T11:20:02.152" v="20"/>
      <pc:docMkLst>
        <pc:docMk/>
      </pc:docMkLst>
      <pc:sldChg chg="modSp">
        <pc:chgData name="Wind-Larsen, Taus (SGRE TE N NT SYC&amp;MAT)" userId="S::taus.wind-larsen@siemensgamesa.com::909f4c56-f0bd-48e2-b5e6-c85fd07560b7" providerId="AD" clId="Web-{9E70D22E-040F-626E-DF20-E3FE110949F0}" dt="2023-10-19T11:20:02.152" v="20"/>
        <pc:sldMkLst>
          <pc:docMk/>
          <pc:sldMk cId="1209066160" sldId="314"/>
        </pc:sldMkLst>
      </pc:sldChg>
    </pc:docChg>
  </pc:docChgLst>
  <pc:docChgLst>
    <pc:chgData name="Lund, Vibeke" userId="S::vibeke.westenholz@siemensgamesa.com::be2c167c-cc21-4c23-92b1-78ba209712f0" providerId="AD" clId="Web-{84FC749A-70A6-7F91-FF00-A748866DF99D}"/>
    <pc:docChg chg="delSld modSld sldOrd modSection">
      <pc:chgData name="Lund, Vibeke" userId="S::vibeke.westenholz@siemensgamesa.com::be2c167c-cc21-4c23-92b1-78ba209712f0" providerId="AD" clId="Web-{84FC749A-70A6-7F91-FF00-A748866DF99D}" dt="2025-02-19T10:46:15.259" v="411"/>
      <pc:docMkLst>
        <pc:docMk/>
      </pc:docMkLst>
      <pc:sldChg chg="del">
        <pc:chgData name="Lund, Vibeke" userId="S::vibeke.westenholz@siemensgamesa.com::be2c167c-cc21-4c23-92b1-78ba209712f0" providerId="AD" clId="Web-{84FC749A-70A6-7F91-FF00-A748866DF99D}" dt="2025-02-19T09:58:30.508" v="272"/>
        <pc:sldMkLst>
          <pc:docMk/>
          <pc:sldMk cId="1286349833" sldId="292"/>
        </pc:sldMkLst>
      </pc:sldChg>
      <pc:sldChg chg="modSp">
        <pc:chgData name="Lund, Vibeke" userId="S::vibeke.westenholz@siemensgamesa.com::be2c167c-cc21-4c23-92b1-78ba209712f0" providerId="AD" clId="Web-{84FC749A-70A6-7F91-FF00-A748866DF99D}" dt="2025-02-19T10:18:11.762" v="409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84FC749A-70A6-7F91-FF00-A748866DF99D}" dt="2025-02-19T10:18:11.762" v="409" actId="20577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Lund, Vibeke" userId="S::vibeke.westenholz@siemensgamesa.com::be2c167c-cc21-4c23-92b1-78ba209712f0" providerId="AD" clId="Web-{84FC749A-70A6-7F91-FF00-A748866DF99D}" dt="2025-02-19T10:18:02.278" v="407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modSp ord">
        <pc:chgData name="Lund, Vibeke" userId="S::vibeke.westenholz@siemensgamesa.com::be2c167c-cc21-4c23-92b1-78ba209712f0" providerId="AD" clId="Web-{84FC749A-70A6-7F91-FF00-A748866DF99D}" dt="2025-02-19T10:05:38.880" v="390" actId="20577"/>
        <pc:sldMkLst>
          <pc:docMk/>
          <pc:sldMk cId="4184456199" sldId="367"/>
        </pc:sldMkLst>
        <pc:spChg chg="mod">
          <ac:chgData name="Lund, Vibeke" userId="S::vibeke.westenholz@siemensgamesa.com::be2c167c-cc21-4c23-92b1-78ba209712f0" providerId="AD" clId="Web-{84FC749A-70A6-7F91-FF00-A748866DF99D}" dt="2025-02-19T10:05:38.880" v="390" actId="20577"/>
          <ac:spMkLst>
            <pc:docMk/>
            <pc:sldMk cId="4184456199" sldId="367"/>
            <ac:spMk id="21" creationId="{123F96DC-1532-F13E-5F02-FDA00F553A84}"/>
          </ac:spMkLst>
        </pc:spChg>
      </pc:sldChg>
      <pc:sldChg chg="modSp ord">
        <pc:chgData name="Lund, Vibeke" userId="S::vibeke.westenholz@siemensgamesa.com::be2c167c-cc21-4c23-92b1-78ba209712f0" providerId="AD" clId="Web-{84FC749A-70A6-7F91-FF00-A748866DF99D}" dt="2025-02-19T10:17:42.433" v="400"/>
        <pc:sldMkLst>
          <pc:docMk/>
          <pc:sldMk cId="1462526466" sldId="369"/>
        </pc:sldMkLst>
        <pc:spChg chg="mod">
          <ac:chgData name="Lund, Vibeke" userId="S::vibeke.westenholz@siemensgamesa.com::be2c167c-cc21-4c23-92b1-78ba209712f0" providerId="AD" clId="Web-{84FC749A-70A6-7F91-FF00-A748866DF99D}" dt="2025-02-19T09:58:21.070" v="271" actId="20577"/>
          <ac:spMkLst>
            <pc:docMk/>
            <pc:sldMk cId="1462526466" sldId="369"/>
            <ac:spMk id="2" creationId="{5D788ADA-8C37-43AB-89C9-1218A42316CA}"/>
          </ac:spMkLst>
        </pc:spChg>
        <pc:graphicFrameChg chg="mod modGraphic">
          <ac:chgData name="Lund, Vibeke" userId="S::vibeke.westenholz@siemensgamesa.com::be2c167c-cc21-4c23-92b1-78ba209712f0" providerId="AD" clId="Web-{84FC749A-70A6-7F91-FF00-A748866DF99D}" dt="2025-02-19T10:17:42.433" v="400"/>
          <ac:graphicFrameMkLst>
            <pc:docMk/>
            <pc:sldMk cId="1462526466" sldId="369"/>
            <ac:graphicFrameMk id="3" creationId="{D488FA64-A4FC-4547-943F-86CB8849E592}"/>
          </ac:graphicFrameMkLst>
        </pc:graphicFrameChg>
      </pc:sldChg>
      <pc:sldChg chg="ord">
        <pc:chgData name="Lund, Vibeke" userId="S::vibeke.westenholz@siemensgamesa.com::be2c167c-cc21-4c23-92b1-78ba209712f0" providerId="AD" clId="Web-{84FC749A-70A6-7F91-FF00-A748866DF99D}" dt="2025-02-19T10:46:15.259" v="411"/>
        <pc:sldMkLst>
          <pc:docMk/>
          <pc:sldMk cId="2355099778" sldId="380"/>
        </pc:sldMkLst>
      </pc:sldChg>
      <pc:sldChg chg="modSp">
        <pc:chgData name="Lund, Vibeke" userId="S::vibeke.westenholz@siemensgamesa.com::be2c167c-cc21-4c23-92b1-78ba209712f0" providerId="AD" clId="Web-{84FC749A-70A6-7F91-FF00-A748866DF99D}" dt="2025-02-19T10:17:30.121" v="396" actId="20577"/>
        <pc:sldMkLst>
          <pc:docMk/>
          <pc:sldMk cId="3900554288" sldId="381"/>
        </pc:sldMkLst>
        <pc:spChg chg="mod">
          <ac:chgData name="Lund, Vibeke" userId="S::vibeke.westenholz@siemensgamesa.com::be2c167c-cc21-4c23-92b1-78ba209712f0" providerId="AD" clId="Web-{84FC749A-70A6-7F91-FF00-A748866DF99D}" dt="2025-02-19T10:17:30.121" v="396" actId="20577"/>
          <ac:spMkLst>
            <pc:docMk/>
            <pc:sldMk cId="3900554288" sldId="381"/>
            <ac:spMk id="6" creationId="{D5F20845-E828-D679-0616-97151C9D003B}"/>
          </ac:spMkLst>
        </pc:spChg>
      </pc:sldChg>
    </pc:docChg>
  </pc:docChgLst>
  <pc:docChgLst>
    <pc:chgData name="Lund, Vibeke" userId="S::vibeke.westenholz@siemensgamesa.com::be2c167c-cc21-4c23-92b1-78ba209712f0" providerId="AD" clId="Web-{E8F9A880-6BA3-C824-7800-C2F8E454F7E6}"/>
    <pc:docChg chg="modSld sldOrd">
      <pc:chgData name="Lund, Vibeke" userId="S::vibeke.westenholz@siemensgamesa.com::be2c167c-cc21-4c23-92b1-78ba209712f0" providerId="AD" clId="Web-{E8F9A880-6BA3-C824-7800-C2F8E454F7E6}" dt="2025-02-03T13:01:38.558" v="15" actId="20577"/>
      <pc:docMkLst>
        <pc:docMk/>
      </pc:docMkLst>
      <pc:sldChg chg="modSp">
        <pc:chgData name="Lund, Vibeke" userId="S::vibeke.westenholz@siemensgamesa.com::be2c167c-cc21-4c23-92b1-78ba209712f0" providerId="AD" clId="Web-{E8F9A880-6BA3-C824-7800-C2F8E454F7E6}" dt="2025-02-03T11:04:26.324" v="13"/>
        <pc:sldMkLst>
          <pc:docMk/>
          <pc:sldMk cId="1286349833" sldId="292"/>
        </pc:sldMkLst>
      </pc:sldChg>
      <pc:sldChg chg="modSp">
        <pc:chgData name="Lund, Vibeke" userId="S::vibeke.westenholz@siemensgamesa.com::be2c167c-cc21-4c23-92b1-78ba209712f0" providerId="AD" clId="Web-{E8F9A880-6BA3-C824-7800-C2F8E454F7E6}" dt="2025-02-03T10:46:22.274" v="11" actId="20577"/>
        <pc:sldMkLst>
          <pc:docMk/>
          <pc:sldMk cId="284083800" sldId="310"/>
        </pc:sldMkLst>
        <pc:spChg chg="mod">
          <ac:chgData name="Lund, Vibeke" userId="S::vibeke.westenholz@siemensgamesa.com::be2c167c-cc21-4c23-92b1-78ba209712f0" providerId="AD" clId="Web-{E8F9A880-6BA3-C824-7800-C2F8E454F7E6}" dt="2025-02-03T10:46:22.274" v="11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modSp">
        <pc:chgData name="Lund, Vibeke" userId="S::vibeke.westenholz@siemensgamesa.com::be2c167c-cc21-4c23-92b1-78ba209712f0" providerId="AD" clId="Web-{E8F9A880-6BA3-C824-7800-C2F8E454F7E6}" dt="2025-02-03T13:01:38.558" v="15" actId="20577"/>
        <pc:sldMkLst>
          <pc:docMk/>
          <pc:sldMk cId="3706399896" sldId="366"/>
        </pc:sldMkLst>
        <pc:spChg chg="mod">
          <ac:chgData name="Lund, Vibeke" userId="S::vibeke.westenholz@siemensgamesa.com::be2c167c-cc21-4c23-92b1-78ba209712f0" providerId="AD" clId="Web-{E8F9A880-6BA3-C824-7800-C2F8E454F7E6}" dt="2025-02-03T13:01:38.558" v="15" actId="20577"/>
          <ac:spMkLst>
            <pc:docMk/>
            <pc:sldMk cId="3706399896" sldId="366"/>
            <ac:spMk id="16" creationId="{B7D53BA7-8DE5-E7E9-A493-37A58B2E1840}"/>
          </ac:spMkLst>
        </pc:spChg>
      </pc:sldChg>
      <pc:sldChg chg="modSp ord">
        <pc:chgData name="Lund, Vibeke" userId="S::vibeke.westenholz@siemensgamesa.com::be2c167c-cc21-4c23-92b1-78ba209712f0" providerId="AD" clId="Web-{E8F9A880-6BA3-C824-7800-C2F8E454F7E6}" dt="2025-02-03T11:17:54.277" v="14"/>
        <pc:sldMkLst>
          <pc:docMk/>
          <pc:sldMk cId="1462526466" sldId="369"/>
        </pc:sldMkLst>
        <pc:graphicFrameChg chg="mod modGraphic">
          <ac:chgData name="Lund, Vibeke" userId="S::vibeke.westenholz@siemensgamesa.com::be2c167c-cc21-4c23-92b1-78ba209712f0" providerId="AD" clId="Web-{E8F9A880-6BA3-C824-7800-C2F8E454F7E6}" dt="2025-02-03T10:46:13.774" v="9"/>
          <ac:graphicFrameMkLst>
            <pc:docMk/>
            <pc:sldMk cId="1462526466" sldId="369"/>
            <ac:graphicFrameMk id="3" creationId="{D488FA64-A4FC-4547-943F-86CB8849E592}"/>
          </ac:graphicFrameMkLst>
        </pc:graphicFrameChg>
      </pc:sldChg>
    </pc:docChg>
  </pc:docChgLst>
  <pc:docChgLst>
    <pc:chgData name="Lund, Vibeke (SGRE COG P&amp;LOG NE&amp;ME)" userId="S::vibeke.westenholz@siemensgamesa.com::be2c167c-cc21-4c23-92b1-78ba209712f0" providerId="AD" clId="Web-{0E5B7C46-2E35-4B98-3438-F52C420CA69B}"/>
    <pc:docChg chg="delSld sldOrd modSection">
      <pc:chgData name="Lund, Vibeke (SGRE COG P&amp;LOG NE&amp;ME)" userId="S::vibeke.westenholz@siemensgamesa.com::be2c167c-cc21-4c23-92b1-78ba209712f0" providerId="AD" clId="Web-{0E5B7C46-2E35-4B98-3438-F52C420CA69B}" dt="2024-02-08T12:21:18.537" v="1"/>
      <pc:docMkLst>
        <pc:docMk/>
      </pc:docMkLst>
      <pc:sldChg chg="del">
        <pc:chgData name="Lund, Vibeke (SGRE COG P&amp;LOG NE&amp;ME)" userId="S::vibeke.westenholz@siemensgamesa.com::be2c167c-cc21-4c23-92b1-78ba209712f0" providerId="AD" clId="Web-{0E5B7C46-2E35-4B98-3438-F52C420CA69B}" dt="2024-02-08T12:18:02.328" v="0"/>
        <pc:sldMkLst>
          <pc:docMk/>
          <pc:sldMk cId="907111057" sldId="378"/>
        </pc:sldMkLst>
      </pc:sldChg>
      <pc:sldChg chg="ord">
        <pc:chgData name="Lund, Vibeke (SGRE COG P&amp;LOG NE&amp;ME)" userId="S::vibeke.westenholz@siemensgamesa.com::be2c167c-cc21-4c23-92b1-78ba209712f0" providerId="AD" clId="Web-{0E5B7C46-2E35-4B98-3438-F52C420CA69B}" dt="2024-02-08T12:21:18.537" v="1"/>
        <pc:sldMkLst>
          <pc:docMk/>
          <pc:sldMk cId="1178340025" sldId="381"/>
        </pc:sldMkLst>
      </pc:sldChg>
    </pc:docChg>
  </pc:docChgLst>
  <pc:docChgLst>
    <pc:chgData name="Lundemark, Michelle (SGRE COG N SCL SM BDK)" userId="S::michelle.lundemark@siemensgamesa.com::b6046ab8-d8e6-46a1-95a4-a447238e3b69" providerId="AD" clId="Web-{E3444CB4-DDFC-E22A-62B3-55210CD2A340}"/>
    <pc:docChg chg="modSld">
      <pc:chgData name="Lundemark, Michelle (SGRE COG N SCL SM BDK)" userId="S::michelle.lundemark@siemensgamesa.com::b6046ab8-d8e6-46a1-95a4-a447238e3b69" providerId="AD" clId="Web-{E3444CB4-DDFC-E22A-62B3-55210CD2A340}" dt="2024-02-02T09:49:04.982" v="21" actId="20577"/>
      <pc:docMkLst>
        <pc:docMk/>
      </pc:docMkLst>
      <pc:sldChg chg="modSp">
        <pc:chgData name="Lundemark, Michelle (SGRE COG N SCL SM BDK)" userId="S::michelle.lundemark@siemensgamesa.com::b6046ab8-d8e6-46a1-95a4-a447238e3b69" providerId="AD" clId="Web-{E3444CB4-DDFC-E22A-62B3-55210CD2A340}" dt="2024-02-02T09:49:04.982" v="21" actId="20577"/>
        <pc:sldMkLst>
          <pc:docMk/>
          <pc:sldMk cId="1109116256" sldId="257"/>
        </pc:sldMkLst>
      </pc:sldChg>
    </pc:docChg>
  </pc:docChgLst>
  <pc:docChgLst>
    <pc:chgData name="Jakobsen, Lone (SGRE COG N SCL SM BDK)" userId="S::lone.jakobsen@siemensgamesa.com::b97f7784-7dac-40b5-a391-efabebb228d3" providerId="AD" clId="Web-{BF347D56-FD6C-E64C-5988-D98787765092}"/>
    <pc:docChg chg="sldOrd">
      <pc:chgData name="Jakobsen, Lone (SGRE COG N SCL SM BDK)" userId="S::lone.jakobsen@siemensgamesa.com::b97f7784-7dac-40b5-a391-efabebb228d3" providerId="AD" clId="Web-{BF347D56-FD6C-E64C-5988-D98787765092}" dt="2024-02-15T07:21:56.654" v="0"/>
      <pc:docMkLst>
        <pc:docMk/>
      </pc:docMkLst>
      <pc:sldChg chg="ord">
        <pc:chgData name="Jakobsen, Lone (SGRE COG N SCL SM BDK)" userId="S::lone.jakobsen@siemensgamesa.com::b97f7784-7dac-40b5-a391-efabebb228d3" providerId="AD" clId="Web-{BF347D56-FD6C-E64C-5988-D98787765092}" dt="2024-02-15T07:21:56.654" v="0"/>
        <pc:sldMkLst>
          <pc:docMk/>
          <pc:sldMk cId="1178340025" sldId="381"/>
        </pc:sldMkLst>
      </pc:sldChg>
    </pc:docChg>
  </pc:docChgLst>
  <pc:docChgLst>
    <pc:chgData name="Wind-Larsen, Taus (SGRE TE N NT SYC&amp;MAT)" userId="909f4c56-f0bd-48e2-b5e6-c85fd07560b7" providerId="ADAL" clId="{A51B75F7-CA2A-48EE-89F2-A985A1975A94}"/>
    <pc:docChg chg="modSld sldOrd">
      <pc:chgData name="Wind-Larsen, Taus (SGRE TE N NT SYC&amp;MAT)" userId="909f4c56-f0bd-48e2-b5e6-c85fd07560b7" providerId="ADAL" clId="{A51B75F7-CA2A-48EE-89F2-A985A1975A94}" dt="2023-03-07T16:37:28.063" v="1"/>
      <pc:docMkLst>
        <pc:docMk/>
      </pc:docMkLst>
      <pc:sldChg chg="ord">
        <pc:chgData name="Wind-Larsen, Taus (SGRE TE N NT SYC&amp;MAT)" userId="909f4c56-f0bd-48e2-b5e6-c85fd07560b7" providerId="ADAL" clId="{A51B75F7-CA2A-48EE-89F2-A985A1975A94}" dt="2023-03-07T16:37:28.063" v="1"/>
        <pc:sldMkLst>
          <pc:docMk/>
          <pc:sldMk cId="3672746191" sldId="313"/>
        </pc:sldMkLst>
      </pc:sldChg>
    </pc:docChg>
  </pc:docChgLst>
  <pc:docChgLst>
    <pc:chgData name="Lynnerup, Michelle (SGRE SE R NE&amp;ME SP&amp;S RM)" userId="S::michelle.lynnerup@siemensgamesa.com::72c21a01-62b5-4fd6-8407-cdfcc0b436f1" providerId="AD" clId="Web-{BE289469-314E-53EF-D2E0-2B79ECADC97B}"/>
    <pc:docChg chg="addSld delSld modSld modSection">
      <p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<pc:docMkLst>
        <pc:docMk/>
      </pc:docMkLst>
      <pc:sldChg chg="modSp">
        <pc:chgData name="Lynnerup, Michelle (SGRE SE R NE&amp;ME SP&amp;S RM)" userId="S::michelle.lynnerup@siemensgamesa.com::72c21a01-62b5-4fd6-8407-cdfcc0b436f1" providerId="AD" clId="Web-{BE289469-314E-53EF-D2E0-2B79ECADC97B}" dt="2022-02-14T08:03:19.878" v="41" actId="20577"/>
        <pc:sldMkLst>
          <pc:docMk/>
          <pc:sldMk cId="469205521" sldId="260"/>
        </pc:sldMkLst>
      </pc:sldChg>
      <pc:sldChg chg="addSp delSp modSp">
        <pc:chgData name="Lynnerup, Michelle (SGRE SE R NE&amp;ME SP&amp;S RM)" userId="S::michelle.lynnerup@siemensgamesa.com::72c21a01-62b5-4fd6-8407-cdfcc0b436f1" providerId="AD" clId="Web-{BE289469-314E-53EF-D2E0-2B79ECADC97B}" dt="2022-02-14T08:56:41.655" v="967" actId="14100"/>
        <pc:sldMkLst>
          <pc:docMk/>
          <pc:sldMk cId="3526056995" sldId="261"/>
        </pc:sldMkLst>
      </pc:sldChg>
      <pc:sldChg chg="del">
        <pc:chgData name="Lynnerup, Michelle (SGRE SE R NE&amp;ME SP&amp;S RM)" userId="S::michelle.lynnerup@siemensgamesa.com::72c21a01-62b5-4fd6-8407-cdfcc0b436f1" providerId="AD" clId="Web-{BE289469-314E-53EF-D2E0-2B79ECADC97B}" dt="2022-02-14T08:57:46.690" v="968"/>
        <pc:sldMkLst>
          <pc:docMk/>
          <pc:sldMk cId="3674548677" sldId="263"/>
        </pc:sldMkLst>
      </pc:sldChg>
      <pc:sldChg chg="modSp">
        <p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  <pc:sldMkLst>
          <pc:docMk/>
          <pc:sldMk cId="577488301" sldId="318"/>
        </pc:sldMkLst>
      </pc:sldChg>
      <pc:sldChg chg="del">
        <pc:chgData name="Lynnerup, Michelle (SGRE SE R NE&amp;ME SP&amp;S RM)" userId="S::michelle.lynnerup@siemensgamesa.com::72c21a01-62b5-4fd6-8407-cdfcc0b436f1" providerId="AD" clId="Web-{BE289469-314E-53EF-D2E0-2B79ECADC97B}" dt="2022-02-14T08:40:27.782" v="899"/>
        <pc:sldMkLst>
          <pc:docMk/>
          <pc:sldMk cId="451751657" sldId="319"/>
        </pc:sldMkLst>
      </pc:sldChg>
      <pc:sldChg chg="addSp delSp modSp add replId">
        <pc:chgData name="Lynnerup, Michelle (SGRE SE R NE&amp;ME SP&amp;S RM)" userId="S::michelle.lynnerup@siemensgamesa.com::72c21a01-62b5-4fd6-8407-cdfcc0b436f1" providerId="AD" clId="Web-{BE289469-314E-53EF-D2E0-2B79ECADC97B}" dt="2022-02-14T08:35:39.313" v="898" actId="20577"/>
        <pc:sldMkLst>
          <pc:docMk/>
          <pc:sldMk cId="1211001049" sldId="345"/>
        </pc:sldMkLst>
      </pc:sldChg>
    </pc:docChg>
  </pc:docChgLst>
  <pc:docChgLst>
    <pc:chgData name="Simmelkjaer, Pia Butzkowsky" userId="S::pia.simmelkjaer@siemensgamesa.com::ecd52c23-7eb3-48b2-8414-fa14d3e833f8" providerId="AD" clId="Web-{4E543E70-1BE8-A2EA-43AC-9B45AC1AAF0C}"/>
    <pc:docChg chg="modSld">
      <pc:chgData name="Simmelkjaer, Pia Butzkowsky" userId="S::pia.simmelkjaer@siemensgamesa.com::ecd52c23-7eb3-48b2-8414-fa14d3e833f8" providerId="AD" clId="Web-{4E543E70-1BE8-A2EA-43AC-9B45AC1AAF0C}" dt="2025-01-17T15:55:35.083" v="94" actId="20577"/>
      <pc:docMkLst>
        <pc:docMk/>
      </pc:docMkLst>
      <pc:sldChg chg="addSp delSp modSp">
        <pc:chgData name="Simmelkjaer, Pia Butzkowsky" userId="S::pia.simmelkjaer@siemensgamesa.com::ecd52c23-7eb3-48b2-8414-fa14d3e833f8" providerId="AD" clId="Web-{4E543E70-1BE8-A2EA-43AC-9B45AC1AAF0C}" dt="2025-01-17T15:55:35.083" v="94" actId="20577"/>
        <pc:sldMkLst>
          <pc:docMk/>
          <pc:sldMk cId="2983965210" sldId="372"/>
        </pc:sldMkLst>
      </pc:sldChg>
    </pc:docChg>
  </pc:docChgLst>
  <pc:docChgLst>
    <pc:chgData name="Lund, Vibeke" userId="S::vibeke.westenholz@siemensgamesa.com::be2c167c-cc21-4c23-92b1-78ba209712f0" providerId="AD" clId="Web-{3881BC3B-147E-380B-985B-AB2B81DEBE1B}"/>
    <pc:docChg chg="modSld sldOrd">
      <pc:chgData name="Lund, Vibeke" userId="S::vibeke.westenholz@siemensgamesa.com::be2c167c-cc21-4c23-92b1-78ba209712f0" providerId="AD" clId="Web-{3881BC3B-147E-380B-985B-AB2B81DEBE1B}" dt="2025-02-19T07:37:20.854" v="19" actId="20577"/>
      <pc:docMkLst>
        <pc:docMk/>
      </pc:docMkLst>
      <pc:sldChg chg="modSp ord">
        <pc:chgData name="Lund, Vibeke" userId="S::vibeke.westenholz@siemensgamesa.com::be2c167c-cc21-4c23-92b1-78ba209712f0" providerId="AD" clId="Web-{3881BC3B-147E-380B-985B-AB2B81DEBE1B}" dt="2025-02-19T07:36:37.868" v="9"/>
        <pc:sldMkLst>
          <pc:docMk/>
          <pc:sldMk cId="643992078" sldId="371"/>
        </pc:sldMkLst>
        <pc:spChg chg="mod">
          <ac:chgData name="Lund, Vibeke" userId="S::vibeke.westenholz@siemensgamesa.com::be2c167c-cc21-4c23-92b1-78ba209712f0" providerId="AD" clId="Web-{3881BC3B-147E-380B-985B-AB2B81DEBE1B}" dt="2025-02-19T07:20:10.086" v="3" actId="20577"/>
          <ac:spMkLst>
            <pc:docMk/>
            <pc:sldMk cId="643992078" sldId="371"/>
            <ac:spMk id="6" creationId="{ECCB7D8A-828C-4A5A-87D9-D3FD263901E9}"/>
          </ac:spMkLst>
        </pc:spChg>
      </pc:sldChg>
      <pc:sldChg chg="modSp ord">
        <pc:chgData name="Lund, Vibeke" userId="S::vibeke.westenholz@siemensgamesa.com::be2c167c-cc21-4c23-92b1-78ba209712f0" providerId="AD" clId="Web-{3881BC3B-147E-380B-985B-AB2B81DEBE1B}" dt="2025-02-19T07:36:37.728" v="8" actId="20577"/>
        <pc:sldMkLst>
          <pc:docMk/>
          <pc:sldMk cId="2420981547" sldId="376"/>
        </pc:sldMkLst>
        <pc:spChg chg="mod">
          <ac:chgData name="Lund, Vibeke" userId="S::vibeke.westenholz@siemensgamesa.com::be2c167c-cc21-4c23-92b1-78ba209712f0" providerId="AD" clId="Web-{3881BC3B-147E-380B-985B-AB2B81DEBE1B}" dt="2025-02-19T07:36:37.728" v="8" actId="20577"/>
          <ac:spMkLst>
            <pc:docMk/>
            <pc:sldMk cId="2420981547" sldId="376"/>
            <ac:spMk id="6" creationId="{ECCB7D8A-828C-4A5A-87D9-D3FD263901E9}"/>
          </ac:spMkLst>
        </pc:spChg>
      </pc:sldChg>
      <pc:sldChg chg="modSp">
        <pc:chgData name="Lund, Vibeke" userId="S::vibeke.westenholz@siemensgamesa.com::be2c167c-cc21-4c23-92b1-78ba209712f0" providerId="AD" clId="Web-{3881BC3B-147E-380B-985B-AB2B81DEBE1B}" dt="2025-02-19T07:36:49.134" v="13" actId="20577"/>
        <pc:sldMkLst>
          <pc:docMk/>
          <pc:sldMk cId="3450183392" sldId="377"/>
        </pc:sldMkLst>
        <pc:spChg chg="mod">
          <ac:chgData name="Lund, Vibeke" userId="S::vibeke.westenholz@siemensgamesa.com::be2c167c-cc21-4c23-92b1-78ba209712f0" providerId="AD" clId="Web-{3881BC3B-147E-380B-985B-AB2B81DEBE1B}" dt="2025-02-19T07:36:49.134" v="13" actId="20577"/>
          <ac:spMkLst>
            <pc:docMk/>
            <pc:sldMk cId="3450183392" sldId="377"/>
            <ac:spMk id="6" creationId="{ECCB7D8A-828C-4A5A-87D9-D3FD263901E9}"/>
          </ac:spMkLst>
        </pc:spChg>
      </pc:sldChg>
      <pc:sldChg chg="modSp">
        <pc:chgData name="Lund, Vibeke" userId="S::vibeke.westenholz@siemensgamesa.com::be2c167c-cc21-4c23-92b1-78ba209712f0" providerId="AD" clId="Web-{3881BC3B-147E-380B-985B-AB2B81DEBE1B}" dt="2025-02-19T07:37:20.854" v="19" actId="20577"/>
        <pc:sldMkLst>
          <pc:docMk/>
          <pc:sldMk cId="2146857642" sldId="378"/>
        </pc:sldMkLst>
        <pc:spChg chg="mod">
          <ac:chgData name="Lund, Vibeke" userId="S::vibeke.westenholz@siemensgamesa.com::be2c167c-cc21-4c23-92b1-78ba209712f0" providerId="AD" clId="Web-{3881BC3B-147E-380B-985B-AB2B81DEBE1B}" dt="2025-02-19T07:37:20.854" v="19" actId="20577"/>
          <ac:spMkLst>
            <pc:docMk/>
            <pc:sldMk cId="2146857642" sldId="378"/>
            <ac:spMk id="6" creationId="{ECCB7D8A-828C-4A5A-87D9-D3FD263901E9}"/>
          </ac:spMkLst>
        </pc:spChg>
      </pc:sldChg>
      <pc:sldChg chg="modSp">
        <pc:chgData name="Lund, Vibeke" userId="S::vibeke.westenholz@siemensgamesa.com::be2c167c-cc21-4c23-92b1-78ba209712f0" providerId="AD" clId="Web-{3881BC3B-147E-380B-985B-AB2B81DEBE1B}" dt="2025-02-19T07:37:04.619" v="15" actId="20577"/>
        <pc:sldMkLst>
          <pc:docMk/>
          <pc:sldMk cId="3900554288" sldId="381"/>
        </pc:sldMkLst>
        <pc:spChg chg="mod">
          <ac:chgData name="Lund, Vibeke" userId="S::vibeke.westenholz@siemensgamesa.com::be2c167c-cc21-4c23-92b1-78ba209712f0" providerId="AD" clId="Web-{3881BC3B-147E-380B-985B-AB2B81DEBE1B}" dt="2025-02-19T07:37:04.619" v="15" actId="20577"/>
          <ac:spMkLst>
            <pc:docMk/>
            <pc:sldMk cId="3900554288" sldId="381"/>
            <ac:spMk id="6" creationId="{D5F20845-E828-D679-0616-97151C9D003B}"/>
          </ac:spMkLst>
        </pc:spChg>
      </pc:sldChg>
    </pc:docChg>
  </pc:docChgLst>
  <pc:docChgLst>
    <pc:chgData name="Espersen, Birgitte Hemdorff (SGRE COG N P PD&amp;E CC&amp;S)" userId="S::birgitte.espersen@siemensgamesa.com::4cdf33e7-3ce5-4877-990d-03f5377e743b" providerId="AD" clId="Web-{4B1C2154-0B11-1173-829C-AE4228324062}"/>
    <pc:docChg chg="modSld">
      <pc:chgData name="Espersen, Birgitte Hemdorff (SGRE COG N P PD&amp;E CC&amp;S)" userId="S::birgitte.espersen@siemensgamesa.com::4cdf33e7-3ce5-4877-990d-03f5377e743b" providerId="AD" clId="Web-{4B1C2154-0B11-1173-829C-AE4228324062}" dt="2023-02-03T13:50:55.560" v="1909"/>
      <pc:docMkLst>
        <pc:docMk/>
      </pc:docMkLst>
      <pc:sldChg chg="addSp delSp modSp">
        <pc:chgData name="Espersen, Birgitte Hemdorff (SGRE COG N P PD&amp;E CC&amp;S)" userId="S::birgitte.espersen@siemensgamesa.com::4cdf33e7-3ce5-4877-990d-03f5377e743b" providerId="AD" clId="Web-{4B1C2154-0B11-1173-829C-AE4228324062}" dt="2023-02-03T13:50:55.560" v="1909"/>
        <pc:sldMkLst>
          <pc:docMk/>
          <pc:sldMk cId="1286349833" sldId="292"/>
        </pc:sldMkLst>
      </pc:sldChg>
    </pc:docChg>
  </pc:docChgLst>
  <pc:docChgLst>
    <pc:chgData name="Lund, Vibeke (SGRE COG P&amp;LOG NE&amp;ME)" userId="S::vibeke.westenholz@siemensgamesa.com::be2c167c-cc21-4c23-92b1-78ba209712f0" providerId="AD" clId="Web-{A097EE6B-093F-FBEE-051A-3A5C77030C0C}"/>
    <pc:docChg chg="modSld">
      <pc:chgData name="Lund, Vibeke (SGRE COG P&amp;LOG NE&amp;ME)" userId="S::vibeke.westenholz@siemensgamesa.com::be2c167c-cc21-4c23-92b1-78ba209712f0" providerId="AD" clId="Web-{A097EE6B-093F-FBEE-051A-3A5C77030C0C}" dt="2024-02-06T13:03:48.028" v="28" actId="20577"/>
      <pc:docMkLst>
        <pc:docMk/>
      </pc:docMkLst>
      <pc:sldChg chg="modSp">
        <pc:chgData name="Lund, Vibeke (SGRE COG P&amp;LOG NE&amp;ME)" userId="S::vibeke.westenholz@siemensgamesa.com::be2c167c-cc21-4c23-92b1-78ba209712f0" providerId="AD" clId="Web-{A097EE6B-093F-FBEE-051A-3A5C77030C0C}" dt="2024-02-06T13:03:48.028" v="28" actId="20577"/>
        <pc:sldMkLst>
          <pc:docMk/>
          <pc:sldMk cId="3526056995" sldId="261"/>
        </pc:sldMkLst>
      </pc:sldChg>
      <pc:sldChg chg="modSp">
        <pc:chgData name="Lund, Vibeke (SGRE COG P&amp;LOG NE&amp;ME)" userId="S::vibeke.westenholz@siemensgamesa.com::be2c167c-cc21-4c23-92b1-78ba209712f0" providerId="AD" clId="Web-{A097EE6B-093F-FBEE-051A-3A5C77030C0C}" dt="2024-02-06T08:52:07.155" v="27" actId="20577"/>
        <pc:sldMkLst>
          <pc:docMk/>
          <pc:sldMk cId="1405606700" sldId="365"/>
        </pc:sldMkLst>
      </pc:sldChg>
    </pc:docChg>
  </pc:docChgLst>
  <pc:docChgLst>
    <pc:chgData name="Soelberg, Torbjoern" userId="S::torbjoern.soelberg@siemensgamesa.com::f3cb2cb1-006e-47a7-b330-9498e7ecbc1e" providerId="AD" clId="Web-{DB44331E-6390-F5D0-BC6B-1625A296DCFA}"/>
    <pc:docChg chg="addSld modSld modSection">
      <pc:chgData name="Soelberg, Torbjoern" userId="S::torbjoern.soelberg@siemensgamesa.com::f3cb2cb1-006e-47a7-b330-9498e7ecbc1e" providerId="AD" clId="Web-{DB44331E-6390-F5D0-BC6B-1625A296DCFA}" dt="2025-02-09T18:16:53.903" v="25" actId="20577"/>
      <pc:docMkLst>
        <pc:docMk/>
      </pc:docMkLst>
      <pc:sldChg chg="modSp add replId">
        <pc:chgData name="Soelberg, Torbjoern" userId="S::torbjoern.soelberg@siemensgamesa.com::f3cb2cb1-006e-47a7-b330-9498e7ecbc1e" providerId="AD" clId="Web-{DB44331E-6390-F5D0-BC6B-1625A296DCFA}" dt="2025-02-09T18:16:53.903" v="25" actId="20577"/>
        <pc:sldMkLst>
          <pc:docMk/>
          <pc:sldMk cId="3364927441" sldId="379"/>
        </pc:sldMkLst>
        <pc:spChg chg="mod">
          <ac:chgData name="Soelberg, Torbjoern" userId="S::torbjoern.soelberg@siemensgamesa.com::f3cb2cb1-006e-47a7-b330-9498e7ecbc1e" providerId="AD" clId="Web-{DB44331E-6390-F5D0-BC6B-1625A296DCFA}" dt="2025-02-09T18:16:53.903" v="25" actId="20577"/>
          <ac:spMkLst>
            <pc:docMk/>
            <pc:sldMk cId="3364927441" sldId="379"/>
            <ac:spMk id="21" creationId="{88C9D2E2-6E59-671F-394D-B9645165F24D}"/>
          </ac:spMkLst>
        </pc:spChg>
      </pc:sldChg>
    </pc:docChg>
  </pc:docChgLst>
  <pc:docChgLst>
    <pc:chgData name="Wind-Larsen, Taus (SGRE OF TE NAC TD SYC)" userId="909f4c56-f0bd-48e2-b5e6-c85fd07560b7" providerId="ADAL" clId="{CAC997D2-2045-4FBD-88AA-2930340D2AF4}"/>
    <pc:docChg chg="undo redo custSel addSld delSld modSld sldOrd delMainMaster modMainMaster modSection">
      <pc:chgData name="Wind-Larsen, Taus (SGRE OF TE NAC TD SYC)" userId="909f4c56-f0bd-48e2-b5e6-c85fd07560b7" providerId="ADAL" clId="{CAC997D2-2045-4FBD-88AA-2930340D2AF4}" dt="2022-02-11T15:06:01.195" v="36839" actId="113"/>
      <pc:docMkLst>
        <pc:docMk/>
      </pc:docMkLst>
      <pc:sldChg chg="addSp delSp modSp add del mod">
        <pc:chgData name="Wind-Larsen, Taus (SGRE OF TE NAC TD SYC)" userId="909f4c56-f0bd-48e2-b5e6-c85fd07560b7" providerId="ADAL" clId="{CAC997D2-2045-4FBD-88AA-2930340D2AF4}" dt="2022-02-11T13:47:41.433" v="35008"/>
        <pc:sldMkLst>
          <pc:docMk/>
          <pc:sldMk cId="2028741205" sldId="256"/>
        </pc:sldMkLst>
      </pc:sldChg>
      <pc:sldChg chg="addSp delSp modSp add del mod">
        <pc:chgData name="Wind-Larsen, Taus (SGRE OF TE NAC TD SYC)" userId="909f4c56-f0bd-48e2-b5e6-c85fd07560b7" providerId="ADAL" clId="{CAC997D2-2045-4FBD-88AA-2930340D2AF4}" dt="2022-02-11T13:48:47.061" v="35927"/>
        <pc:sldMkLst>
          <pc:docMk/>
          <pc:sldMk cId="1109116256" sldId="257"/>
        </pc:sldMkLst>
      </pc:sldChg>
      <pc:sldChg chg="del">
        <pc:chgData name="Wind-Larsen, Taus (SGRE OF TE NAC TD SYC)" userId="909f4c56-f0bd-48e2-b5e6-c85fd07560b7" providerId="ADAL" clId="{CAC997D2-2045-4FBD-88AA-2930340D2AF4}" dt="2022-02-11T08:22:27.241" v="108" actId="47"/>
        <pc:sldMkLst>
          <pc:docMk/>
          <pc:sldMk cId="601587642" sldId="258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469205521" sldId="260"/>
        </pc:sldMkLst>
      </pc:sldChg>
      <pc:sldChg chg="add del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3526056995" sldId="261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3674548677" sldId="263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13:24:09.887" v="33960" actId="20577"/>
        <pc:sldMkLst>
          <pc:docMk/>
          <pc:sldMk cId="1618370001" sldId="271"/>
        </pc:sldMkLst>
      </pc:sldChg>
      <pc:sldChg chg="modSp mod">
        <pc:chgData name="Wind-Larsen, Taus (SGRE OF TE NAC TD SYC)" userId="909f4c56-f0bd-48e2-b5e6-c85fd07560b7" providerId="ADAL" clId="{CAC997D2-2045-4FBD-88AA-2930340D2AF4}" dt="2022-02-11T09:59:53.268" v="1118" actId="20577"/>
        <pc:sldMkLst>
          <pc:docMk/>
          <pc:sldMk cId="3563952106" sldId="284"/>
        </pc:sldMkLst>
      </pc:sldChg>
      <pc:sldChg chg="del">
        <pc:chgData name="Wind-Larsen, Taus (SGRE OF TE NAC TD SYC)" userId="909f4c56-f0bd-48e2-b5e6-c85fd07560b7" providerId="ADAL" clId="{CAC997D2-2045-4FBD-88AA-2930340D2AF4}" dt="2022-02-11T08:22:29.913" v="109" actId="47"/>
        <pc:sldMkLst>
          <pc:docMk/>
          <pc:sldMk cId="3290329980" sldId="285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09:26:47.998" v="934" actId="20577"/>
        <pc:sldMkLst>
          <pc:docMk/>
          <pc:sldMk cId="1320544008" sldId="286"/>
        </pc:sldMkLst>
      </pc:sldChg>
      <pc:sldChg chg="addSp delSp modSp del mod">
        <pc:chgData name="Wind-Larsen, Taus (SGRE OF TE NAC TD SYC)" userId="909f4c56-f0bd-48e2-b5e6-c85fd07560b7" providerId="ADAL" clId="{CAC997D2-2045-4FBD-88AA-2930340D2AF4}" dt="2022-02-11T10:03:16.733" v="1809" actId="2696"/>
        <pc:sldMkLst>
          <pc:docMk/>
          <pc:sldMk cId="931352492" sldId="289"/>
        </pc:sldMkLst>
      </pc:sldChg>
      <pc:sldChg chg="del">
        <pc:chgData name="Wind-Larsen, Taus (SGRE OF TE NAC TD SYC)" userId="909f4c56-f0bd-48e2-b5e6-c85fd07560b7" providerId="ADAL" clId="{CAC997D2-2045-4FBD-88AA-2930340D2AF4}" dt="2022-02-11T08:34:31.796" v="398" actId="47"/>
        <pc:sldMkLst>
          <pc:docMk/>
          <pc:sldMk cId="42064838" sldId="290"/>
        </pc:sldMkLst>
      </pc:sldChg>
      <pc:sldChg chg="del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596892949" sldId="292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19:33.421" v="33881" actId="1036"/>
        <pc:sldMkLst>
          <pc:docMk/>
          <pc:sldMk cId="1286349833" sldId="292"/>
        </pc:sldMkLst>
      </pc:sldChg>
      <pc:sldChg chg="addSp delSp modSp mod ord modAnim">
        <pc:chgData name="Wind-Larsen, Taus (SGRE OF TE NAC TD SYC)" userId="909f4c56-f0bd-48e2-b5e6-c85fd07560b7" providerId="ADAL" clId="{CAC997D2-2045-4FBD-88AA-2930340D2AF4}" dt="2022-02-11T14:58:21.916" v="36686" actId="114"/>
        <pc:sldMkLst>
          <pc:docMk/>
          <pc:sldMk cId="1840042121" sldId="293"/>
        </pc:sldMkLst>
      </pc:sldChg>
      <pc:sldChg chg="modSp add del mod ord">
        <pc:chgData name="Wind-Larsen, Taus (SGRE OF TE NAC TD SYC)" userId="909f4c56-f0bd-48e2-b5e6-c85fd07560b7" providerId="ADAL" clId="{CAC997D2-2045-4FBD-88AA-2930340D2AF4}" dt="2022-02-11T13:44:15.223" v="34903" actId="20577"/>
        <pc:sldMkLst>
          <pc:docMk/>
          <pc:sldMk cId="2483631185" sldId="294"/>
        </pc:sldMkLst>
      </pc:sldChg>
      <pc:sldChg chg="modSp mod ord">
        <pc:chgData name="Wind-Larsen, Taus (SGRE OF TE NAC TD SYC)" userId="909f4c56-f0bd-48e2-b5e6-c85fd07560b7" providerId="ADAL" clId="{CAC997D2-2045-4FBD-88AA-2930340D2AF4}" dt="2022-02-11T13:57:38.198" v="35948" actId="20577"/>
        <pc:sldMkLst>
          <pc:docMk/>
          <pc:sldMk cId="3176653745" sldId="296"/>
        </pc:sldMkLst>
      </pc:sldChg>
      <pc:sldChg chg="addSp delSp modSp del mod ord">
        <pc:chgData name="Wind-Larsen, Taus (SGRE OF TE NAC TD SYC)" userId="909f4c56-f0bd-48e2-b5e6-c85fd07560b7" providerId="ADAL" clId="{CAC997D2-2045-4FBD-88AA-2930340D2AF4}" dt="2022-02-11T09:25:56.430" v="648" actId="47"/>
        <pc:sldMkLst>
          <pc:docMk/>
          <pc:sldMk cId="1163294343" sldId="298"/>
        </pc:sldMkLst>
      </pc:sldChg>
      <pc:sldChg chg="del">
        <pc:chgData name="Wind-Larsen, Taus (SGRE OF TE NAC TD SYC)" userId="909f4c56-f0bd-48e2-b5e6-c85fd07560b7" providerId="ADAL" clId="{CAC997D2-2045-4FBD-88AA-2930340D2AF4}" dt="2022-02-11T08:25:38.184" v="202" actId="47"/>
        <pc:sldMkLst>
          <pc:docMk/>
          <pc:sldMk cId="1468755633" sldId="299"/>
        </pc:sldMkLst>
      </pc:sldChg>
      <pc:sldChg chg="modSp del mod">
        <pc:chgData name="Wind-Larsen, Taus (SGRE OF TE NAC TD SYC)" userId="909f4c56-f0bd-48e2-b5e6-c85fd07560b7" providerId="ADAL" clId="{CAC997D2-2045-4FBD-88AA-2930340D2AF4}" dt="2022-02-11T09:24:51.468" v="612" actId="47"/>
        <pc:sldMkLst>
          <pc:docMk/>
          <pc:sldMk cId="1398001458" sldId="305"/>
        </pc:sldMkLst>
      </pc:sldChg>
      <pc:sldChg chg="modSp del mod">
        <pc:chgData name="Wind-Larsen, Taus (SGRE OF TE NAC TD SYC)" userId="909f4c56-f0bd-48e2-b5e6-c85fd07560b7" providerId="ADAL" clId="{CAC997D2-2045-4FBD-88AA-2930340D2AF4}" dt="2022-02-11T10:00:13.918" v="1120" actId="47"/>
        <pc:sldMkLst>
          <pc:docMk/>
          <pc:sldMk cId="3408353856" sldId="306"/>
        </pc:sldMkLst>
      </pc:sldChg>
      <pc:sldChg chg="modSp del mod">
        <pc:chgData name="Wind-Larsen, Taus (SGRE OF TE NAC TD SYC)" userId="909f4c56-f0bd-48e2-b5e6-c85fd07560b7" providerId="ADAL" clId="{CAC997D2-2045-4FBD-88AA-2930340D2AF4}" dt="2022-02-11T13:20:58.258" v="33883" actId="47"/>
        <pc:sldMkLst>
          <pc:docMk/>
          <pc:sldMk cId="1697281255" sldId="307"/>
        </pc:sldMkLst>
      </pc:sldChg>
      <pc:sldChg chg="modSp del mod">
        <pc:chgData name="Wind-Larsen, Taus (SGRE OF TE NAC TD SYC)" userId="909f4c56-f0bd-48e2-b5e6-c85fd07560b7" providerId="ADAL" clId="{CAC997D2-2045-4FBD-88AA-2930340D2AF4}" dt="2022-02-11T13:32:24.001" v="34256" actId="47"/>
        <pc:sldMkLst>
          <pc:docMk/>
          <pc:sldMk cId="2110885354" sldId="308"/>
        </pc:sldMkLst>
      </pc:sldChg>
      <pc:sldChg chg="addSp modSp add mod">
        <pc:chgData name="Wind-Larsen, Taus (SGRE OF TE NAC TD SYC)" userId="909f4c56-f0bd-48e2-b5e6-c85fd07560b7" providerId="ADAL" clId="{CAC997D2-2045-4FBD-88AA-2930340D2AF4}" dt="2022-02-11T13:11:34.715" v="33483"/>
        <pc:sldMkLst>
          <pc:docMk/>
          <pc:sldMk cId="284083800" sldId="310"/>
        </pc:sldMkLst>
      </pc:sldChg>
      <pc:sldChg chg="del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3236824241" sldId="310"/>
        </pc:sldMkLst>
      </pc:sldChg>
      <pc:sldChg chg="delSp add del mod">
        <pc:chgData name="Wind-Larsen, Taus (SGRE OF TE NAC TD SYC)" userId="909f4c56-f0bd-48e2-b5e6-c85fd07560b7" providerId="ADAL" clId="{CAC997D2-2045-4FBD-88AA-2930340D2AF4}" dt="2022-02-11T13:11:55.710" v="33484" actId="47"/>
        <pc:sldMkLst>
          <pc:docMk/>
          <pc:sldMk cId="1651961601" sldId="311"/>
        </pc:sldMkLst>
      </pc:sldChg>
      <pc:sldChg chg="modSp add del mod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4246467792" sldId="311"/>
        </pc:sldMkLst>
      </pc:sldChg>
      <pc:sldChg chg="del">
        <pc:chgData name="Wind-Larsen, Taus (SGRE OF TE NAC TD SYC)" userId="909f4c56-f0bd-48e2-b5e6-c85fd07560b7" providerId="ADAL" clId="{CAC997D2-2045-4FBD-88AA-2930340D2AF4}" dt="2022-02-11T08:31:18.213" v="322" actId="47"/>
        <pc:sldMkLst>
          <pc:docMk/>
          <pc:sldMk cId="228174764" sldId="312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11:08:57.877" v="18295" actId="14734"/>
        <pc:sldMkLst>
          <pc:docMk/>
          <pc:sldMk cId="3672746191" sldId="313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14:53:02.940" v="36680"/>
        <pc:sldMkLst>
          <pc:docMk/>
          <pc:sldMk cId="1209066160" sldId="314"/>
        </pc:sldMkLst>
      </pc:sldChg>
      <pc:sldChg chg="modSp mod ord">
        <pc:chgData name="Wind-Larsen, Taus (SGRE OF TE NAC TD SYC)" userId="909f4c56-f0bd-48e2-b5e6-c85fd07560b7" providerId="ADAL" clId="{CAC997D2-2045-4FBD-88AA-2930340D2AF4}" dt="2022-02-11T13:57:48.150" v="35950" actId="20577"/>
        <pc:sldMkLst>
          <pc:docMk/>
          <pc:sldMk cId="100653347" sldId="315"/>
        </pc:sldMkLst>
      </pc:sldChg>
      <pc:sldChg chg="del">
        <pc:chgData name="Wind-Larsen, Taus (SGRE OF TE NAC TD SYC)" userId="909f4c56-f0bd-48e2-b5e6-c85fd07560b7" providerId="ADAL" clId="{CAC997D2-2045-4FBD-88AA-2930340D2AF4}" dt="2022-02-11T08:36:30.421" v="438" actId="47"/>
        <pc:sldMkLst>
          <pc:docMk/>
          <pc:sldMk cId="2536122990" sldId="316"/>
        </pc:sldMkLst>
      </pc:sldChg>
      <pc:sldChg chg="del">
        <pc:chgData name="Wind-Larsen, Taus (SGRE OF TE NAC TD SYC)" userId="909f4c56-f0bd-48e2-b5e6-c85fd07560b7" providerId="ADAL" clId="{CAC997D2-2045-4FBD-88AA-2930340D2AF4}" dt="2022-02-11T08:36:26.173" v="437" actId="47"/>
        <pc:sldMkLst>
          <pc:docMk/>
          <pc:sldMk cId="222139734" sldId="317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577488301" sldId="318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451751657" sldId="319"/>
        </pc:sldMkLst>
      </pc:sldChg>
      <pc:sldChg chg="del">
        <pc:chgData name="Wind-Larsen, Taus (SGRE OF TE NAC TD SYC)" userId="909f4c56-f0bd-48e2-b5e6-c85fd07560b7" providerId="ADAL" clId="{CAC997D2-2045-4FBD-88AA-2930340D2AF4}" dt="2022-02-11T08:37:50.685" v="448" actId="47"/>
        <pc:sldMkLst>
          <pc:docMk/>
          <pc:sldMk cId="1610040041" sldId="320"/>
        </pc:sldMkLst>
      </pc:sldChg>
      <pc:sldChg chg="modSp add del mod">
        <pc:chgData name="Wind-Larsen, Taus (SGRE OF TE NAC TD SYC)" userId="909f4c56-f0bd-48e2-b5e6-c85fd07560b7" providerId="ADAL" clId="{CAC997D2-2045-4FBD-88AA-2930340D2AF4}" dt="2022-02-11T09:58:10.055" v="1054" actId="47"/>
        <pc:sldMkLst>
          <pc:docMk/>
          <pc:sldMk cId="927270867" sldId="321"/>
        </pc:sldMkLst>
      </pc:sldChg>
      <pc:sldChg chg="new add del">
        <pc:chgData name="Wind-Larsen, Taus (SGRE OF TE NAC TD SYC)" userId="909f4c56-f0bd-48e2-b5e6-c85fd07560b7" providerId="ADAL" clId="{CAC997D2-2045-4FBD-88AA-2930340D2AF4}" dt="2022-02-11T08:27:17.652" v="240" actId="47"/>
        <pc:sldMkLst>
          <pc:docMk/>
          <pc:sldMk cId="1794614940" sldId="321"/>
        </pc:sldMkLst>
      </pc:sldChg>
      <pc:sldChg chg="addSp delSp modSp add mod ord">
        <pc:chgData name="Wind-Larsen, Taus (SGRE OF TE NAC TD SYC)" userId="909f4c56-f0bd-48e2-b5e6-c85fd07560b7" providerId="ADAL" clId="{CAC997D2-2045-4FBD-88AA-2930340D2AF4}" dt="2022-02-11T13:28:04.579" v="34254" actId="20577"/>
        <pc:sldMkLst>
          <pc:docMk/>
          <pc:sldMk cId="558325371" sldId="322"/>
        </pc:sldMkLst>
      </pc:sldChg>
      <pc:sldChg chg="addSp delSp modSp add mod">
        <pc:chgData name="Wind-Larsen, Taus (SGRE OF TE NAC TD SYC)" userId="909f4c56-f0bd-48e2-b5e6-c85fd07560b7" providerId="ADAL" clId="{CAC997D2-2045-4FBD-88AA-2930340D2AF4}" dt="2022-02-11T13:33:23.375" v="34552"/>
        <pc:sldMkLst>
          <pc:docMk/>
          <pc:sldMk cId="4087205575" sldId="323"/>
        </pc:sldMkLst>
      </pc:sldChg>
      <pc:sldChg chg="modSp add del mod">
        <pc:chgData name="Wind-Larsen, Taus (SGRE OF TE NAC TD SYC)" userId="909f4c56-f0bd-48e2-b5e6-c85fd07560b7" providerId="ADAL" clId="{CAC997D2-2045-4FBD-88AA-2930340D2AF4}" dt="2022-02-11T13:33:45.700" v="34554" actId="47"/>
        <pc:sldMkLst>
          <pc:docMk/>
          <pc:sldMk cId="3936505600" sldId="324"/>
        </pc:sldMkLst>
      </pc:sldChg>
      <pc:sldChg chg="modSp add del mod">
        <pc:chgData name="Wind-Larsen, Taus (SGRE OF TE NAC TD SYC)" userId="909f4c56-f0bd-48e2-b5e6-c85fd07560b7" providerId="ADAL" clId="{CAC997D2-2045-4FBD-88AA-2930340D2AF4}" dt="2022-02-11T13:41:26.042" v="34864" actId="47"/>
        <pc:sldMkLst>
          <pc:docMk/>
          <pc:sldMk cId="3380896902" sldId="325"/>
        </pc:sldMkLst>
      </pc:sldChg>
      <pc:sldChg chg="modSp add del mod">
        <pc:chgData name="Wind-Larsen, Taus (SGRE OF TE NAC TD SYC)" userId="909f4c56-f0bd-48e2-b5e6-c85fd07560b7" providerId="ADAL" clId="{CAC997D2-2045-4FBD-88AA-2930340D2AF4}" dt="2022-02-11T13:42:08.304" v="34868" actId="47"/>
        <pc:sldMkLst>
          <pc:docMk/>
          <pc:sldMk cId="1105608203" sldId="326"/>
        </pc:sldMkLst>
      </pc:sldChg>
      <pc:sldChg chg="modSp add del mod">
        <pc:chgData name="Wind-Larsen, Taus (SGRE OF TE NAC TD SYC)" userId="909f4c56-f0bd-48e2-b5e6-c85fd07560b7" providerId="ADAL" clId="{CAC997D2-2045-4FBD-88AA-2930340D2AF4}" dt="2022-02-11T13:41:30.065" v="34865" actId="47"/>
        <pc:sldMkLst>
          <pc:docMk/>
          <pc:sldMk cId="1992305511" sldId="327"/>
        </pc:sldMkLst>
      </pc:sldChg>
      <pc:sldChg chg="add del">
        <pc:chgData name="Wind-Larsen, Taus (SGRE OF TE NAC TD SYC)" userId="909f4c56-f0bd-48e2-b5e6-c85fd07560b7" providerId="ADAL" clId="{CAC997D2-2045-4FBD-88AA-2930340D2AF4}" dt="2022-02-11T09:27:20.720" v="935" actId="47"/>
        <pc:sldMkLst>
          <pc:docMk/>
          <pc:sldMk cId="1440746015" sldId="328"/>
        </pc:sldMkLst>
      </pc:sldChg>
      <pc:sldChg chg="modSp add mod">
        <pc:chgData name="Wind-Larsen, Taus (SGRE OF TE NAC TD SYC)" userId="909f4c56-f0bd-48e2-b5e6-c85fd07560b7" providerId="ADAL" clId="{CAC997D2-2045-4FBD-88AA-2930340D2AF4}" dt="2022-02-11T09:26:18.760" v="654" actId="113"/>
        <pc:sldMkLst>
          <pc:docMk/>
          <pc:sldMk cId="1371835148" sldId="329"/>
        </pc:sldMkLst>
      </pc:sldChg>
      <pc:sldChg chg="modSp add mod">
        <pc:chgData name="Wind-Larsen, Taus (SGRE OF TE NAC TD SYC)" userId="909f4c56-f0bd-48e2-b5e6-c85fd07560b7" providerId="ADAL" clId="{CAC997D2-2045-4FBD-88AA-2930340D2AF4}" dt="2022-02-11T09:57:56.557" v="1052" actId="114"/>
        <pc:sldMkLst>
          <pc:docMk/>
          <pc:sldMk cId="3839263946" sldId="330"/>
        </pc:sldMkLst>
      </pc:sldChg>
      <pc:sldChg chg="modSp add mod">
        <pc:chgData name="Wind-Larsen, Taus (SGRE OF TE NAC TD SYC)" userId="909f4c56-f0bd-48e2-b5e6-c85fd07560b7" providerId="ADAL" clId="{CAC997D2-2045-4FBD-88AA-2930340D2AF4}" dt="2022-02-11T15:01:46.686" v="36687" actId="113"/>
        <pc:sldMkLst>
          <pc:docMk/>
          <pc:sldMk cId="4141118460" sldId="331"/>
        </pc:sldMkLst>
      </pc:sldChg>
      <pc:sldChg chg="modSp add mod">
        <pc:chgData name="Wind-Larsen, Taus (SGRE OF TE NAC TD SYC)" userId="909f4c56-f0bd-48e2-b5e6-c85fd07560b7" providerId="ADAL" clId="{CAC997D2-2045-4FBD-88AA-2930340D2AF4}" dt="2022-02-11T09:58:46.163" v="1080" actId="113"/>
        <pc:sldMkLst>
          <pc:docMk/>
          <pc:sldMk cId="2768869850" sldId="332"/>
        </pc:sldMkLst>
      </pc:sldChg>
      <pc:sldChg chg="modSp add mod">
        <pc:chgData name="Wind-Larsen, Taus (SGRE OF TE NAC TD SYC)" userId="909f4c56-f0bd-48e2-b5e6-c85fd07560b7" providerId="ADAL" clId="{CAC997D2-2045-4FBD-88AA-2930340D2AF4}" dt="2022-02-11T10:00:46.990" v="1152" actId="114"/>
        <pc:sldMkLst>
          <pc:docMk/>
          <pc:sldMk cId="13521793" sldId="333"/>
        </pc:sldMkLst>
      </pc:sldChg>
      <pc:sldChg chg="modSp add mod">
        <pc:chgData name="Wind-Larsen, Taus (SGRE OF TE NAC TD SYC)" userId="909f4c56-f0bd-48e2-b5e6-c85fd07560b7" providerId="ADAL" clId="{CAC997D2-2045-4FBD-88AA-2930340D2AF4}" dt="2022-02-11T10:01:54.072" v="1359" actId="14100"/>
        <pc:sldMkLst>
          <pc:docMk/>
          <pc:sldMk cId="1882169009" sldId="334"/>
        </pc:sldMkLst>
      </pc:sldChg>
      <pc:sldChg chg="addSp delSp modSp add mod">
        <pc:chgData name="Wind-Larsen, Taus (SGRE OF TE NAC TD SYC)" userId="909f4c56-f0bd-48e2-b5e6-c85fd07560b7" providerId="ADAL" clId="{CAC997D2-2045-4FBD-88AA-2930340D2AF4}" dt="2022-02-11T10:01:18.805" v="1325"/>
        <pc:sldMkLst>
          <pc:docMk/>
          <pc:sldMk cId="3047106097" sldId="335"/>
        </pc:sldMkLst>
      </pc:sldChg>
      <pc:sldChg chg="addSp delSp modSp add mod">
        <pc:chgData name="Wind-Larsen, Taus (SGRE OF TE NAC TD SYC)" userId="909f4c56-f0bd-48e2-b5e6-c85fd07560b7" providerId="ADAL" clId="{CAC997D2-2045-4FBD-88AA-2930340D2AF4}" dt="2022-02-11T13:58:17.038" v="35959"/>
        <pc:sldMkLst>
          <pc:docMk/>
          <pc:sldMk cId="995067089" sldId="336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21:19.092" v="33888" actId="113"/>
        <pc:sldMkLst>
          <pc:docMk/>
          <pc:sldMk cId="479969689" sldId="337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22:58.095" v="33893" actId="20577"/>
        <pc:sldMkLst>
          <pc:docMk/>
          <pc:sldMk cId="3084079554" sldId="338"/>
        </pc:sldMkLst>
      </pc:sldChg>
      <pc:sldChg chg="addSp delSp modSp add mod modAnim">
        <pc:chgData name="Wind-Larsen, Taus (SGRE OF TE NAC TD SYC)" userId="909f4c56-f0bd-48e2-b5e6-c85fd07560b7" providerId="ADAL" clId="{CAC997D2-2045-4FBD-88AA-2930340D2AF4}" dt="2022-02-11T14:53:52.026" v="36684" actId="20577"/>
        <pc:sldMkLst>
          <pc:docMk/>
          <pc:sldMk cId="1231909040" sldId="339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27:44.938" v="34131" actId="114"/>
        <pc:sldMkLst>
          <pc:docMk/>
          <pc:sldMk cId="3983236087" sldId="340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32:45.728" v="34262" actId="113"/>
        <pc:sldMkLst>
          <pc:docMk/>
          <pc:sldMk cId="2018643726" sldId="341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34:02.430" v="34556" actId="113"/>
        <pc:sldMkLst>
          <pc:docMk/>
          <pc:sldMk cId="1611808819" sldId="342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43:07.280" v="34870" actId="113"/>
        <pc:sldMkLst>
          <pc:docMk/>
          <pc:sldMk cId="1831290368" sldId="343"/>
        </pc:sldMkLst>
      </pc:sldChg>
      <pc:sldChg chg="addSp delSp modSp add mod">
        <pc:chgData name="Wind-Larsen, Taus (SGRE OF TE NAC TD SYC)" userId="909f4c56-f0bd-48e2-b5e6-c85fd07560b7" providerId="ADAL" clId="{CAC997D2-2045-4FBD-88AA-2930340D2AF4}" dt="2022-02-11T15:06:01.195" v="36839" actId="113"/>
        <pc:sldMkLst>
          <pc:docMk/>
          <pc:sldMk cId="2138284291" sldId="344"/>
        </pc:sldMkLst>
      </pc:sldChg>
      <pc:sldMasterChg chg="modSp mod">
        <pc:chgData name="Wind-Larsen, Taus (SGRE OF TE NAC TD SYC)" userId="909f4c56-f0bd-48e2-b5e6-c85fd07560b7" providerId="ADAL" clId="{CAC997D2-2045-4FBD-88AA-2930340D2AF4}" dt="2022-02-11T09:56:52.868" v="1031" actId="20577"/>
        <pc:sldMasterMkLst>
          <pc:docMk/>
          <pc:sldMasterMk cId="72354714" sldId="2147483648"/>
        </pc:sldMasterMkLst>
      </pc:sldMasterChg>
      <pc:sldMasterChg chg="del delSldLayout">
        <pc:chgData name="Wind-Larsen, Taus (SGRE OF TE NAC TD SYC)" userId="909f4c56-f0bd-48e2-b5e6-c85fd07560b7" providerId="ADAL" clId="{CAC997D2-2045-4FBD-88AA-2930340D2AF4}" dt="2022-02-11T08:27:00.048" v="237" actId="47"/>
        <pc:sldMasterMkLst>
          <pc:docMk/>
          <pc:sldMasterMk cId="3715686928" sldId="2147483684"/>
        </pc:sldMasterMkLst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1232989660" sldId="2147483685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125831905" sldId="2147483686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539714103" sldId="2147483687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509662867" sldId="2147483688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504210863" sldId="2147483689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914142637" sldId="2147483690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903509852" sldId="2147483691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79973358" sldId="2147483692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871977149" sldId="2147483693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745535760" sldId="2147483694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1111015061" sldId="2147483695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847143002" sldId="2147483696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105587442" sldId="2147483697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098220382" sldId="2147483698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134576021" sldId="2147483699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440871879" sldId="2147483700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722380198" sldId="2147483701"/>
          </pc:sldLayoutMkLst>
        </pc:sldLayoutChg>
      </pc:sldMasterChg>
    </pc:docChg>
  </pc:docChgLst>
  <pc:docChgLst>
    <pc:chgData name="Jakobsen, Lone (SGRE COG N SCL SM BDK)" userId="S::lone.jakobsen@siemensgamesa.com::b97f7784-7dac-40b5-a391-efabebb228d3" providerId="AD" clId="Web-{DA2D4C95-2C44-01E0-E759-A5C01E79D3A7}"/>
    <pc:docChg chg="modSld">
      <pc:chgData name="Jakobsen, Lone (SGRE COG N SCL SM BDK)" userId="S::lone.jakobsen@siemensgamesa.com::b97f7784-7dac-40b5-a391-efabebb228d3" providerId="AD" clId="Web-{DA2D4C95-2C44-01E0-E759-A5C01E79D3A7}" dt="2023-02-03T13:01:39.279" v="58" actId="20577"/>
      <pc:docMkLst>
        <pc:docMk/>
      </pc:docMkLst>
      <pc:sldChg chg="modSp">
        <pc:chgData name="Jakobsen, Lone (SGRE COG N SCL SM BDK)" userId="S::lone.jakobsen@siemensgamesa.com::b97f7784-7dac-40b5-a391-efabebb228d3" providerId="AD" clId="Web-{DA2D4C95-2C44-01E0-E759-A5C01E79D3A7}" dt="2023-02-03T13:01:39.279" v="58" actId="20577"/>
        <pc:sldMkLst>
          <pc:docMk/>
          <pc:sldMk cId="1371835148" sldId="329"/>
        </pc:sldMkLst>
      </pc:sldChg>
      <pc:sldChg chg="modSp">
        <pc:chgData name="Jakobsen, Lone (SGRE COG N SCL SM BDK)" userId="S::lone.jakobsen@siemensgamesa.com::b97f7784-7dac-40b5-a391-efabebb228d3" providerId="AD" clId="Web-{DA2D4C95-2C44-01E0-E759-A5C01E79D3A7}" dt="2023-02-03T13:01:01.574" v="43" actId="20577"/>
        <pc:sldMkLst>
          <pc:docMk/>
          <pc:sldMk cId="3839263946" sldId="33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50_3B4F84D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50_3B4F84D1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7F_AA0203BD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794057794057795E-2"/>
          <c:y val="3.5206499661475966E-2"/>
          <c:w val="0.93162393162393164"/>
          <c:h val="0.9295870006770480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F3-4885-AB66-69BFEA8B83BD}"/>
                </c:ext>
              </c:extLst>
            </c:dLbl>
            <c:dLbl>
              <c:idx val="1"/>
              <c:layout>
                <c:manualLayout>
                  <c:x val="-0.62261178891100155"/>
                  <c:y val="4.264870644340922E-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2F3-4885-AB66-69BFEA8B83BD}"/>
                </c:ext>
              </c:extLst>
            </c:dLbl>
            <c:dLbl>
              <c:idx val="2"/>
              <c:layout>
                <c:manualLayout>
                  <c:x val="7.2039072039072033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2F3-4885-AB66-69BFEA8B8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#,##0;"-"#,##0</c:formatCode>
                <c:ptCount val="3"/>
                <c:pt idx="0">
                  <c:v>1512</c:v>
                </c:pt>
                <c:pt idx="1">
                  <c:v>1650</c:v>
                </c:pt>
                <c:pt idx="2">
                  <c:v>-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F3-4885-AB66-69BFEA8B83B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0.35217302965334457"/>
                  <c:y val="4.2648706445891699E-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2F3-4885-AB66-69BFEA8B83B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2F3-4885-AB66-69BFEA8B83BD}"/>
                </c:ext>
              </c:extLst>
            </c:dLbl>
            <c:dLbl>
              <c:idx val="2"/>
              <c:layout>
                <c:manualLayout>
                  <c:x val="-3.0524389579508287E-3"/>
                  <c:y val="8.5297412896748367E-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2F3-4885-AB66-69BFEA8B8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#,##0;"-"#,##0</c:formatCode>
                <c:ptCount val="3"/>
                <c:pt idx="0">
                  <c:v>1436</c:v>
                </c:pt>
                <c:pt idx="1">
                  <c:v>820</c:v>
                </c:pt>
                <c:pt idx="2">
                  <c:v>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2F3-4885-AB66-69BFEA8B8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896215"/>
        <c:axId val="1"/>
      </c:barChart>
      <c:catAx>
        <c:axId val="1389621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779"/>
          <c:min val="-217.40899999999988"/>
        </c:scaling>
        <c:delete val="1"/>
        <c:axPos val="t"/>
        <c:numFmt formatCode="#,##0;&quot;-&quot;#,##0" sourceLinked="1"/>
        <c:majorTickMark val="out"/>
        <c:minorTickMark val="none"/>
        <c:tickLblPos val="nextTo"/>
        <c:crossAx val="138962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38556955658949E-3"/>
          <c:y val="0.19747423903170003"/>
          <c:w val="0.98299820173287555"/>
          <c:h val="0.752009184845005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89322617680826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BD5-4033-9869-8A015BC56E6A}"/>
                </c:ext>
              </c:extLst>
            </c:dLbl>
            <c:dLbl>
              <c:idx val="1"/>
              <c:layout>
                <c:manualLayout>
                  <c:x val="0"/>
                  <c:y val="-0.378874856486796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BD5-4033-9869-8A015BC56E6A}"/>
                </c:ext>
              </c:extLst>
            </c:dLbl>
            <c:dLbl>
              <c:idx val="2"/>
              <c:layout>
                <c:manualLayout>
                  <c:x val="0"/>
                  <c:y val="-0.471871412169919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BD5-4033-9869-8A015BC56E6A}"/>
                </c:ext>
              </c:extLst>
            </c:dLbl>
            <c:dLbl>
              <c:idx val="3"/>
              <c:layout>
                <c:manualLayout>
                  <c:x val="0"/>
                  <c:y val="-0.365097588978186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BD5-4033-9869-8A015BC56E6A}"/>
                </c:ext>
              </c:extLst>
            </c:dLbl>
            <c:dLbl>
              <c:idx val="4"/>
              <c:layout>
                <c:manualLayout>
                  <c:x val="0"/>
                  <c:y val="-0.433983926521239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BD5-4033-9869-8A015BC56E6A}"/>
                </c:ext>
              </c:extLst>
            </c:dLbl>
            <c:dLbl>
              <c:idx val="5"/>
              <c:layout>
                <c:manualLayout>
                  <c:x val="0"/>
                  <c:y val="-0.346727898966704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BD5-4033-9869-8A015BC56E6A}"/>
                </c:ext>
              </c:extLst>
            </c:dLbl>
            <c:dLbl>
              <c:idx val="6"/>
              <c:layout>
                <c:manualLayout>
                  <c:x val="0"/>
                  <c:y val="-0.295063145809414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BD5-4033-9869-8A015BC56E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#,##0;"-"#,##0</c:formatCode>
                <c:ptCount val="9"/>
                <c:pt idx="0">
                  <c:v>832</c:v>
                </c:pt>
                <c:pt idx="1">
                  <c:v>1211.8599999999999</c:v>
                </c:pt>
                <c:pt idx="2">
                  <c:v>1605.999</c:v>
                </c:pt>
                <c:pt idx="3">
                  <c:v>1152.5530000000001</c:v>
                </c:pt>
                <c:pt idx="4">
                  <c:v>1443.4159999999999</c:v>
                </c:pt>
                <c:pt idx="5">
                  <c:v>1073.4349999999999</c:v>
                </c:pt>
                <c:pt idx="6">
                  <c:v>856</c:v>
                </c:pt>
                <c:pt idx="7">
                  <c:v>629</c:v>
                </c:pt>
                <c:pt idx="8">
                  <c:v>1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BD5-4033-9869-8A015BC56E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0757944"/>
        <c:axId val="1"/>
      </c:barChart>
      <c:catAx>
        <c:axId val="990757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5.999"/>
          <c:min val="0"/>
        </c:scaling>
        <c:delete val="1"/>
        <c:axPos val="l"/>
        <c:numFmt formatCode="#,##0;&quot;-&quot;#,##0" sourceLinked="1"/>
        <c:majorTickMark val="out"/>
        <c:minorTickMark val="none"/>
        <c:tickLblPos val="nextTo"/>
        <c:crossAx val="990757944"/>
        <c:crosses val="min"/>
        <c:crossBetween val="between"/>
      </c:valAx>
      <c:spPr>
        <a:noFill/>
        <a:ln w="25400">
          <a:noFill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59385318140921E-2"/>
          <c:y val="0.21306818181818185"/>
          <c:w val="0.92586156288714483"/>
          <c:h val="0.767045454545454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0.305397727272727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84F-4078-893F-E95781024CEE}"/>
                </c:ext>
              </c:extLst>
            </c:dLbl>
            <c:dLbl>
              <c:idx val="2"/>
              <c:layout>
                <c:manualLayout>
                  <c:x val="0"/>
                  <c:y val="-0.2251420454545454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629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CD04-4F06-AD6B-0200510880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;"-"#,##0</c:formatCode>
                <c:ptCount val="5"/>
                <c:pt idx="0" formatCode="General">
                  <c:v>1073</c:v>
                </c:pt>
                <c:pt idx="1">
                  <c:v>856</c:v>
                </c:pt>
                <c:pt idx="2">
                  <c:v>629</c:v>
                </c:pt>
                <c:pt idx="3" formatCode="General">
                  <c:v>1245</c:v>
                </c:pt>
                <c:pt idx="4" formatCode="General">
                  <c:v>10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6D-448D-A1CC-B78109914E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300951"/>
        <c:axId val="1"/>
      </c:barChart>
      <c:lineChart>
        <c:grouping val="standard"/>
        <c:varyColors val="0"/>
        <c:ser>
          <c:idx val="1"/>
          <c:order val="1"/>
          <c:spPr>
            <a:ln w="38100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E$2</c:f>
              <c:numCache>
                <c:formatCode>General</c:formatCode>
                <c:ptCount val="5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  <c:pt idx="3">
                  <c:v>500</c:v>
                </c:pt>
                <c:pt idx="4">
                  <c:v>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E6D-448D-A1CC-B78109914E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300951"/>
        <c:axId val="1"/>
      </c:lineChart>
      <c:catAx>
        <c:axId val="60300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300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4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8A086C-B616-4B0D-A7AA-E48C1FEB8AA6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9776B-B2D8-46C8-9A32-59F673B47F74}" type="slidenum">
              <a:rPr lang="en-US" smtClean="0"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19889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98D44-6B5F-46F2-9D01-C2425732654F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E7CB4E-B5C6-4A1E-9330-2A5FF13B818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836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8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</a:t>
            </a:fld>
            <a:endParaRPr lang="da-DK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6478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694303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28873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177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Lene </a:t>
            </a:r>
            <a:r>
              <a:rPr lang="da-DK" err="1"/>
              <a:t>Moellgaard</a:t>
            </a:r>
            <a:r>
              <a:rPr lang="da-DK"/>
              <a:t>? (Lone spørger hend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10383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77563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Her mangler et billede / Allan – Chili Klaus emne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792745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4398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76456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2927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898365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2FE76-8D7F-2B94-92FE-33C58F66C7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58931C-C95B-B895-AF9D-3BD702546C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723181-FDAD-2EAB-FE34-70659EC4F9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elcome</a:t>
            </a:r>
            <a:r>
              <a:rPr lang="da-DK"/>
              <a:t> </a:t>
            </a:r>
            <a:r>
              <a:rPr lang="da-DK" err="1"/>
              <a:t>incl</a:t>
            </a:r>
            <a:r>
              <a:rPr lang="da-DK"/>
              <a:t>. Safety mom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Louise Heltborg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ibeke to give her the </a:t>
            </a:r>
            <a:r>
              <a:rPr lang="da-DK" err="1"/>
              <a:t>needed</a:t>
            </a:r>
            <a:r>
              <a:rPr lang="da-DK"/>
              <a:t> </a:t>
            </a:r>
            <a:r>
              <a:rPr lang="da-DK" err="1"/>
              <a:t>material</a:t>
            </a: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ichelle </a:t>
            </a:r>
            <a:r>
              <a:rPr lang="da-DK" err="1"/>
              <a:t>will</a:t>
            </a:r>
            <a:r>
              <a:rPr lang="da-DK"/>
              <a:t> </a:t>
            </a:r>
            <a:r>
              <a:rPr lang="da-DK" err="1"/>
              <a:t>prepare</a:t>
            </a:r>
            <a:r>
              <a:rPr lang="da-DK"/>
              <a:t> </a:t>
            </a:r>
            <a:r>
              <a:rPr lang="da-DK" err="1"/>
              <a:t>voting</a:t>
            </a:r>
            <a:r>
              <a:rPr lang="da-DK"/>
              <a:t> </a:t>
            </a:r>
            <a:r>
              <a:rPr lang="da-DK" err="1"/>
              <a:t>papers</a:t>
            </a:r>
            <a:r>
              <a:rPr lang="da-DK"/>
              <a:t> for the board </a:t>
            </a:r>
            <a:r>
              <a:rPr lang="da-DK" err="1"/>
              <a:t>member</a:t>
            </a:r>
            <a:r>
              <a:rPr lang="da-DK"/>
              <a:t> </a:t>
            </a:r>
            <a:r>
              <a:rPr lang="da-DK" err="1"/>
              <a:t>election</a:t>
            </a:r>
            <a:r>
              <a:rPr lang="da-DK"/>
              <a:t> + </a:t>
            </a:r>
            <a:r>
              <a:rPr lang="da-DK" err="1"/>
              <a:t>some</a:t>
            </a:r>
            <a:r>
              <a:rPr lang="da-DK"/>
              <a:t> </a:t>
            </a:r>
            <a:r>
              <a:rPr lang="da-DK" err="1"/>
              <a:t>blanks</a:t>
            </a:r>
            <a:r>
              <a:rPr lang="da-DK"/>
              <a:t> in case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need</a:t>
            </a:r>
            <a:r>
              <a:rPr lang="da-DK"/>
              <a:t> to </a:t>
            </a:r>
            <a:r>
              <a:rPr lang="da-DK" err="1"/>
              <a:t>vote</a:t>
            </a:r>
            <a:r>
              <a:rPr lang="da-DK"/>
              <a:t> on </a:t>
            </a:r>
            <a:r>
              <a:rPr lang="da-DK" err="1"/>
              <a:t>anything</a:t>
            </a:r>
            <a:r>
              <a:rPr lang="da-DK"/>
              <a:t> </a:t>
            </a:r>
            <a:r>
              <a:rPr lang="da-DK" err="1"/>
              <a:t>else</a:t>
            </a:r>
            <a:r>
              <a:rPr lang="da-DK"/>
              <a:t> (140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Kl. 16.30 	Velkomst –</a:t>
            </a:r>
            <a:r>
              <a:rPr lang="da-DK" sz="1200" b="1" i="1"/>
              <a:t>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35 	Underholdning ved Henrik </a:t>
            </a:r>
            <a:r>
              <a:rPr lang="da-DK" sz="1200" err="1"/>
              <a:t>Stiesdal</a:t>
            </a:r>
            <a:r>
              <a:rPr lang="da-DK" sz="1200"/>
              <a:t> 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.30	Generalforsamling ifølge dagsordenen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og valg af stemmetællere - Lon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–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Hjemmeside status Tabea &amp; D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00	Spis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:45	Møllebandens Events​ 2023 – Daniel &amp; Vibeke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i="1"/>
              <a:t>	</a:t>
            </a:r>
            <a:r>
              <a:rPr lang="da-DK" sz="1200"/>
              <a:t>Regnskab &amp; Budget – Tabea &amp; Taus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Indkomne forslag  Pia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Optælling af stemme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</a:t>
            </a:r>
            <a:endParaRPr lang="da-DK" sz="12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20.00 	Tak for i aften (forventet tidspunkt)</a:t>
            </a:r>
            <a:endParaRPr lang="da-DK" sz="1200">
              <a:cs typeface="Arial"/>
            </a:endParaRP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endParaRPr lang="da-DK"/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41058F-C22F-308A-D9D3-A8BFF1D8B2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208831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T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60393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553998"/>
          </a:xfrm>
        </p:spPr>
        <p:txBody>
          <a:bodyPr/>
          <a:lstStyle/>
          <a:p>
            <a:r>
              <a:rPr lang="da-DK"/>
              <a:t>Tabe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707507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369332"/>
          </a:xfrm>
        </p:spPr>
        <p:txBody>
          <a:bodyPr/>
          <a:lstStyle/>
          <a:p>
            <a:r>
              <a:rPr lang="da-DK"/>
              <a:t>T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0139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0.xml"/><Relationship Id="rId7" Type="http://schemas.openxmlformats.org/officeDocument/2006/relationships/image" Target="../media/image8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.xml"/><Relationship Id="rId7" Type="http://schemas.openxmlformats.org/officeDocument/2006/relationships/image" Target="../media/image8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52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.xml"/><Relationship Id="rId7" Type="http://schemas.openxmlformats.org/officeDocument/2006/relationships/image" Target="../media/image3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8.xml"/><Relationship Id="rId7" Type="http://schemas.openxmlformats.org/officeDocument/2006/relationships/image" Target="../media/image2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2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ECABC12-4EB8-4DCD-90F7-984F72ABEB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787648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367712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5843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DC8C73E-E8EB-494A-B11F-82ECF7BF6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2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DC8C73E-E8EB-494A-B11F-82ECF7BF6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664FF-0A39-4D9D-943B-183A3CEEC0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 bwMode="ltGray">
          <a:xfrm>
            <a:off x="0" y="1412875"/>
            <a:ext cx="12192000" cy="446405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2009104"/>
            <a:ext cx="8461375" cy="3348508"/>
          </a:xfrm>
        </p:spPr>
        <p:txBody>
          <a:bodyPr rIns="1800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926733-E80D-4F3D-99D1-F6E2C0A0D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058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404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1DA5FF-BFC7-4B2B-B732-4E5AC27305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3944737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58201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F3723B-525C-4593-81E2-F14F9DF1059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305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C979BC-DE9E-40B9-95AD-E8C798A89B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46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C979BC-DE9E-40B9-95AD-E8C798A89B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AA9324C-55CD-46DC-84A7-50F3D5732F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49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4F6A45A-0970-4EBA-B086-9F9FEFF12E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88597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Over Full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C76306-9D1B-4410-8009-B2A0D633E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46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C76306-9D1B-4410-8009-B2A0D63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DC4B7-17EE-44A2-B9E0-3E74F6AB22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50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bg1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8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Abgerundetes Rechteck 3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5" name="Abgerundetes Rechteck 34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5079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FA66C3-FF13-4755-AB5E-C50FC5D6B3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2" y="1412875"/>
            <a:ext cx="8461376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6E0F97-5330-44FB-BB50-E99C2F18B5F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754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Gr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EB7376-BED1-40AA-B6EB-4E1045E72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96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EB7376-BED1-40AA-B6EB-4E1045E72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3BFECE5-2DE2-48B7-B94A-B553BAE295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8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52" name="Gruppieren 5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3" name="Gerade Verbindung 5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3222C45-338E-446C-AFBF-F174BBB81E2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72641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94CF1C-69EA-4956-B690-8FB9C1916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485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94CF1C-69EA-4956-B690-8FB9C1916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7ED7FF-5F79-4792-BF7E-C19D1543F4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364537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29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33" name="Gerade Verbindung 3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Abgerundetes Rechteck 5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54" name="Abgerundetes Rechteck 53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410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71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37F2734-EEAC-4A20-8A7C-28CB3BA5C9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40E080-DFAE-451E-B1AB-BCB9F3FE1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6883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5E24D7-0973-4C6F-9998-2F62A0ADCB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795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241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31FCA-6C3F-4662-BC4E-B02B9E6242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98FA86-692F-4F01-A2D3-81B937E9415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2793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978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D6727C-7C8C-495E-83E6-A599398DBC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D8F07B-A5F6-4FCC-9C1F-29E868CCB2C4}"/>
              </a:ext>
            </a:extLst>
          </p:cNvPr>
          <p:cNvSpPr/>
          <p:nvPr userDrawn="1"/>
        </p:nvSpPr>
        <p:spPr>
          <a:xfrm>
            <a:off x="5372100" y="615462"/>
            <a:ext cx="6819504" cy="208377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C2210E-4177-425C-804C-3E756E37924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814" y="893799"/>
            <a:ext cx="5010849" cy="12193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435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241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C89F5B-E0B8-4B18-82AF-DEE4195654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45107B-8F3B-417D-A615-E497F68DBAF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70177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116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6758A2-C2FF-48D0-A731-B9E4A9305E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C410114-55A2-4FFD-93AC-CBC08BDD1C7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19154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487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492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F90809-3499-4B45-A27D-BE0B3E6225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78777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DF5158-C138-4655-B206-31461F5A1A7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7386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DEB7C84E-E5B3-4964-A900-1D4725F11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85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DEB7C84E-E5B3-4964-A900-1D4725F11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SP Agenda Notice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a-DK" noProof="0"/>
              <a:t>This is the SlideProof Agenda Layout</a:t>
            </a:r>
          </a:p>
          <a:p>
            <a:pPr lvl="0"/>
            <a:r>
              <a:rPr lang="da-DK" noProof="0"/>
              <a:t>http://www.veodin.com/slideproof/manual/agenda/</a:t>
            </a:r>
          </a:p>
          <a:p>
            <a:pPr lvl="0"/>
            <a:r>
              <a:rPr lang="da-DK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da-DK" noProof="0"/>
              <a:t>Expected group name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Section</a:t>
            </a:r>
          </a:p>
          <a:p>
            <a:pPr lvl="1"/>
            <a:r>
              <a:rPr lang="da-DK" noProof="0"/>
              <a:t>SP Agenda Section Highlight</a:t>
            </a:r>
          </a:p>
          <a:p>
            <a:pPr lvl="1"/>
            <a:r>
              <a:rPr lang="da-DK" noProof="0"/>
              <a:t>SP Agenda Subsection</a:t>
            </a:r>
          </a:p>
          <a:p>
            <a:pPr lvl="1"/>
            <a:r>
              <a:rPr lang="da-DK" noProof="0"/>
              <a:t>SP Agenda Subsection Highlight</a:t>
            </a:r>
          </a:p>
          <a:p>
            <a:pPr lvl="0"/>
            <a:r>
              <a:rPr lang="da-DK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da-DK" noProof="0"/>
              <a:t>Valid text placeholder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ection number:</a:t>
            </a:r>
          </a:p>
          <a:p>
            <a:pPr lvl="1"/>
            <a:r>
              <a:rPr lang="da-DK" noProof="0"/>
              <a:t>&lt;N&gt; for Arabic number 1, 2, 3</a:t>
            </a:r>
          </a:p>
          <a:p>
            <a:pPr lvl="1"/>
            <a:r>
              <a:rPr lang="da-DK" noProof="0"/>
              <a:t>&lt;R&gt; for Roman numeral I, II, III</a:t>
            </a:r>
          </a:p>
          <a:p>
            <a:pPr lvl="1"/>
            <a:r>
              <a:rPr lang="da-DK" noProof="0"/>
              <a:t>&lt;RL&gt; for lower-case Roman numeral i, ii, iii</a:t>
            </a:r>
          </a:p>
          <a:p>
            <a:pPr lvl="1"/>
            <a:r>
              <a:rPr lang="da-DK" noProof="0"/>
              <a:t>&lt;A&gt; for alphabetic character A, B, C</a:t>
            </a:r>
          </a:p>
          <a:p>
            <a:pPr lvl="1"/>
            <a:r>
              <a:rPr lang="da-DK" noProof="0"/>
              <a:t>&lt;AL&gt; for lower-case Alphabetic character</a:t>
            </a:r>
          </a:p>
          <a:p>
            <a:pPr lvl="1"/>
            <a:r>
              <a:rPr lang="da-DK" noProof="0"/>
              <a:t>&lt;TEXT&gt;</a:t>
            </a:r>
          </a:p>
          <a:p>
            <a:pPr lvl="1"/>
            <a:r>
              <a:rPr lang="da-DK" noProof="0"/>
              <a:t>&lt;RESPONSIBLE&gt;</a:t>
            </a:r>
          </a:p>
          <a:p>
            <a:pPr lvl="1"/>
            <a:r>
              <a:rPr lang="da-DK" noProof="0"/>
              <a:t>&lt;TIMESLOT&gt;</a:t>
            </a:r>
          </a:p>
          <a:p>
            <a:pPr lvl="1"/>
            <a:r>
              <a:rPr lang="da-DK" noProof="0"/>
              <a:t>&lt;DURATION&gt; for duration</a:t>
            </a:r>
          </a:p>
          <a:p>
            <a:pPr lvl="1"/>
            <a:r>
              <a:rPr lang="da-DK" noProof="0"/>
              <a:t>&lt;P&gt; for page number</a:t>
            </a:r>
          </a:p>
          <a:p>
            <a:pPr lvl="0"/>
            <a:r>
              <a:rPr lang="da-DK" noProof="0"/>
              <a:t>If you want the agenda to be vertically centered on each Agenda slide, rename this layout to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Vertical</a:t>
            </a:r>
          </a:p>
        </p:txBody>
      </p:sp>
      <p:grpSp>
        <p:nvGrpSpPr>
          <p:cNvPr id="5" name="SP Agenda Section" hidden="1"/>
          <p:cNvGrpSpPr/>
          <p:nvPr userDrawn="1"/>
        </p:nvGrpSpPr>
        <p:grpSpPr>
          <a:xfrm>
            <a:off x="1797664" y="2085631"/>
            <a:ext cx="8657275" cy="369332"/>
            <a:chOff x="1797664" y="2085631"/>
            <a:chExt cx="8657274" cy="369332"/>
          </a:xfrm>
        </p:grpSpPr>
        <p:sp>
          <p:nvSpPr>
            <p:cNvPr id="6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7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11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12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14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15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16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17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18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grpSp>
        <p:nvGrpSpPr>
          <p:cNvPr id="19" name="SP Agenda Subsection" hidden="1"/>
          <p:cNvGrpSpPr>
            <a:grpSpLocks/>
          </p:cNvGrpSpPr>
          <p:nvPr userDrawn="1"/>
        </p:nvGrpSpPr>
        <p:grpSpPr>
          <a:xfrm>
            <a:off x="2265805" y="3148295"/>
            <a:ext cx="8189135" cy="369332"/>
            <a:chOff x="2265804" y="3155687"/>
            <a:chExt cx="818913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23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25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26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7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30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31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2B971D07-3ED0-4C9B-B2E7-F2EE33BB61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86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95A7A-D12D-E639-BB06-478FB7ABDDFE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E363F2-5275-618C-6064-897E296B4F19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F3DA1E-9EDE-B559-00DB-CA65786EEF6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FB690F1-7192-4902-88F0-F1794CF74261}" type="datetime1">
              <a:rPr lang="en-US"/>
              <a:pPr lvl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CCDED2-45D9-9280-CF72-1E7CB399687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181A19-6BE3-0067-7A5E-233A3AA997C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E49E430-07B9-4235-8F87-6546D6E11242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988144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850084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B829306-031B-49E6-9F57-C8A28E11099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3200" b="0" i="0" kern="1200">
                <a:solidFill>
                  <a:schemeClr val="bg2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401C8E-BD57-47A7-B577-E5E0B381EB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7" y="0"/>
            <a:ext cx="12192404" cy="378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9565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2725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4823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0004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730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052B845-416E-4536-B635-E0CC1FE222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AB1D3A-2C96-4BD1-AA14-C130E6A4E8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89218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32034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89226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0429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31527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71827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14746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04085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9055516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523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19000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0FB801-DCBB-4E7A-9942-CC3928A00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28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0FB801-DCBB-4E7A-9942-CC3928A00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96953EA-4522-4DF5-9807-6FA3B9118F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46810" y="1419225"/>
            <a:ext cx="5399089" cy="4452938"/>
          </a:xfrm>
        </p:spPr>
        <p:txBody>
          <a:bodyPr/>
          <a:lstStyle>
            <a:lvl1pPr marL="342000" indent="-34200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5378450" algn="r"/>
              </a:tabLst>
              <a:defRPr/>
            </a:lvl1pPr>
            <a:lvl2pPr marL="342000" indent="0" defTabSz="631825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78450" algn="r"/>
              </a:tabLst>
              <a:defRPr baseline="0"/>
            </a:lvl2pPr>
            <a:lvl3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302125" algn="l"/>
              </a:tabLst>
              <a:defRPr/>
            </a:lvl3pPr>
            <a:lvl4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4BADF3-E434-43C2-A412-DA9AC53FC6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2665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27244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527596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09031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4E6AFBA-6F18-49CB-8EEC-662829BCE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598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4E6AFBA-6F18-49CB-8EEC-662829BCE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BFA15D-CED7-4CEF-8BB6-C96DE09EB8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162A27-9CA9-49AB-8C3E-818778AB77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847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0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762AD8-C5E8-481E-B10F-BE0146C055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1412875"/>
            <a:ext cx="5424487" cy="4459287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56338" y="1412875"/>
            <a:ext cx="5395124" cy="4459287"/>
          </a:xfrm>
        </p:spPr>
        <p:txBody>
          <a:bodyPr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A14DC6-7A53-41F0-BEFC-2FBE04C8F6E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0277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5AFC6C-D8AF-410A-BF29-E343E87DD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76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5AFC6C-D8AF-410A-BF29-E343E87DD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51DB51-6CA7-40BF-809D-1016779306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4" y="1412875"/>
            <a:ext cx="5425200" cy="4459288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56339" y="1412875"/>
            <a:ext cx="5394324" cy="208564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256339" y="3787775"/>
            <a:ext cx="5394324" cy="2084387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7066B0-74BC-4928-9349-14B29C9E5B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9653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Dark Purp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244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2BAB0B1-13E1-4AA0-B1A6-4AAF1807F1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47B71C-273F-4682-A35A-FA48E30F576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3397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Soft Gray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714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79E7D82-46DC-4086-9F0A-67DB1826E6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Please click here to edit master forma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C1F411-28ED-4AE8-B195-DD929865F3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3644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oleObject" Target="../embeddings/oleObject24.bin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tags" Target="../tags/tag7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tags" Target="../tags/tag70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940858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9CF022-08EA-4976-BA2A-BD83D8931C60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8162" y="1412875"/>
            <a:ext cx="846000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rgbClr val="3C3C3C"/>
                </a:solidFill>
              </a:rPr>
              <a:t>© Siemens Gamesa Renewable Energy S.A</a:t>
            </a:r>
          </a:p>
        </p:txBody>
      </p:sp>
      <p:sp>
        <p:nvSpPr>
          <p:cNvPr id="10" name="Footer Placeholder 4"/>
          <p:cNvSpPr txBox="1">
            <a:spLocks/>
          </p:cNvSpPr>
          <p:nvPr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b="0">
              <a:solidFill>
                <a:srgbClr val="3C3C3C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6" name="Gruppieren 55"/>
          <p:cNvGrpSpPr/>
          <p:nvPr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" name="Gerade Verbindung 4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7"/>
    </p:custDataLst>
    <p:extLst>
      <p:ext uri="{BB962C8B-B14F-4D97-AF65-F5344CB8AC3E}">
        <p14:creationId xmlns:p14="http://schemas.microsoft.com/office/powerpoint/2010/main" val="7235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49" r:id="rId2"/>
    <p:sldLayoutId id="2147483666" r:id="rId3"/>
    <p:sldLayoutId id="2147483659" r:id="rId4"/>
    <p:sldLayoutId id="2147483650" r:id="rId5"/>
    <p:sldLayoutId id="2147483656" r:id="rId6"/>
    <p:sldLayoutId id="2147483657" r:id="rId7"/>
    <p:sldLayoutId id="2147483651" r:id="rId8"/>
    <p:sldLayoutId id="2147483670" r:id="rId9"/>
    <p:sldLayoutId id="2147483660" r:id="rId10"/>
    <p:sldLayoutId id="2147483663" r:id="rId11"/>
    <p:sldLayoutId id="2147483677" r:id="rId12"/>
    <p:sldLayoutId id="2147483676" r:id="rId13"/>
    <p:sldLayoutId id="2147483662" r:id="rId14"/>
    <p:sldLayoutId id="2147483679" r:id="rId15"/>
    <p:sldLayoutId id="2147483678" r:id="rId16"/>
    <p:sldLayoutId id="2147483654" r:id="rId17"/>
    <p:sldLayoutId id="2147483655" r:id="rId18"/>
    <p:sldLayoutId id="2147483658" r:id="rId19"/>
    <p:sldLayoutId id="2147483673" r:id="rId20"/>
    <p:sldLayoutId id="2147483680" r:id="rId21"/>
    <p:sldLayoutId id="2147483682" r:id="rId22"/>
    <p:sldLayoutId id="2147483683" r:id="rId23"/>
    <p:sldLayoutId id="2147483702" r:id="rId24"/>
    <p:sldLayoutId id="2147483703" r:id="rId2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5" userDrawn="1">
          <p15:clr>
            <a:srgbClr val="F26B43"/>
          </p15:clr>
        </p15:guide>
        <p15:guide id="2" pos="338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210" userDrawn="1">
          <p15:clr>
            <a:srgbClr val="F26B43"/>
          </p15:clr>
        </p15:guide>
        <p15:guide id="5" orient="horz" pos="408" userDrawn="1">
          <p15:clr>
            <a:srgbClr val="F26B43"/>
          </p15:clr>
        </p15:guide>
        <p15:guide id="6" orient="horz" pos="2387" userDrawn="1">
          <p15:clr>
            <a:srgbClr val="F26B43"/>
          </p15:clr>
        </p15:guide>
        <p15:guide id="7" orient="horz" pos="3702" userDrawn="1">
          <p15:clr>
            <a:srgbClr val="F26B43"/>
          </p15:clr>
        </p15:guide>
        <p15:guide id="8" pos="3761" userDrawn="1">
          <p15:clr>
            <a:srgbClr val="F26B43"/>
          </p15:clr>
        </p15:guide>
        <p15:guide id="9" pos="3942" userDrawn="1">
          <p15:clr>
            <a:srgbClr val="F26B43"/>
          </p15:clr>
        </p15:guide>
        <p15:guide id="10" pos="5669" userDrawn="1">
          <p15:clr>
            <a:srgbClr val="F26B43"/>
          </p15:clr>
        </p15:guide>
        <p15:guide id="11" pos="73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622A98D-8829-4D42-A48E-27E18EF3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00894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622A98D-8829-4D42-A48E-27E18EF3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56736631-0652-493B-A2B7-4CDA373B88D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85CE2AB-F694-4F5C-9FA1-A5286C6B8F28}" type="datetimeFigureOut">
              <a:rPr lang="da-DK" smtClean="0"/>
              <a:t>20-02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77212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26" Type="http://schemas.openxmlformats.org/officeDocument/2006/relationships/chart" Target="../charts/chart2.xml"/><Relationship Id="rId3" Type="http://schemas.openxmlformats.org/officeDocument/2006/relationships/tags" Target="../tags/tag89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5" Type="http://schemas.openxmlformats.org/officeDocument/2006/relationships/chart" Target="../charts/chart1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tags" Target="../tags/tag106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24" Type="http://schemas.openxmlformats.org/officeDocument/2006/relationships/image" Target="../media/image7.emf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23" Type="http://schemas.openxmlformats.org/officeDocument/2006/relationships/oleObject" Target="../embeddings/oleObject30.bin"/><Relationship Id="rId10" Type="http://schemas.openxmlformats.org/officeDocument/2006/relationships/tags" Target="../tags/tag96.xml"/><Relationship Id="rId19" Type="http://schemas.openxmlformats.org/officeDocument/2006/relationships/tags" Target="../tags/tag105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notesSlide" Target="../notesSlides/notesSlide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3" Type="http://schemas.openxmlformats.org/officeDocument/2006/relationships/tags" Target="../tags/tag111.xml"/><Relationship Id="rId21" Type="http://schemas.openxmlformats.org/officeDocument/2006/relationships/oleObject" Target="../embeddings/oleObject32.bin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" Type="http://schemas.openxmlformats.org/officeDocument/2006/relationships/tags" Target="../tags/tag110.xml"/><Relationship Id="rId16" Type="http://schemas.openxmlformats.org/officeDocument/2006/relationships/tags" Target="../tags/tag124.xml"/><Relationship Id="rId20" Type="http://schemas.openxmlformats.org/officeDocument/2006/relationships/notesSlide" Target="../notesSlides/notesSlide9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image" Target="../media/image16.png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23" Type="http://schemas.openxmlformats.org/officeDocument/2006/relationships/chart" Target="../charts/chart3.xml"/><Relationship Id="rId10" Type="http://schemas.openxmlformats.org/officeDocument/2006/relationships/tags" Target="../tags/tag118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image" Target="../media/image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3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85.xml"/><Relationship Id="rId5" Type="http://schemas.openxmlformats.org/officeDocument/2006/relationships/image" Target="../media/image14.png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A0C46B-8E1E-4531-984C-2FDE96CE78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02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A0C46B-8E1E-4531-984C-2FDE96CE7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46BF5D5-8826-4AF5-8FEC-845192AF5E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40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34988" y="3933645"/>
            <a:ext cx="8464550" cy="615553"/>
          </a:xfrm>
        </p:spPr>
        <p:txBody>
          <a:bodyPr vert="horz"/>
          <a:lstStyle/>
          <a:p>
            <a:r>
              <a:rPr lang="da-DK"/>
              <a:t>Generalforsamling</a:t>
            </a:r>
            <a:r>
              <a:rPr lang="da-DK" noProof="0"/>
              <a:t> </a:t>
            </a:r>
            <a:r>
              <a:rPr lang="da-DK"/>
              <a:t>2025</a:t>
            </a:r>
            <a:endParaRPr lang="da-DK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a-DK" noProof="0"/>
              <a:t>Hotel Dalgas, Brande, </a:t>
            </a:r>
            <a:r>
              <a:rPr lang="da-DK"/>
              <a:t>20-02-2025</a:t>
            </a:r>
            <a:endParaRPr lang="da-DK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8370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60EFCE-047F-838C-AAC5-E5C14F5DFB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B5FC9D-038A-73C9-26F7-2F1CAAB4A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10</a:t>
            </a:fld>
            <a:endParaRPr lang="da-DK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88C9D2E2-6E59-671F-394D-B9645165F2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4211" y="685800"/>
            <a:ext cx="10537164" cy="5439792"/>
          </a:xfrm>
        </p:spPr>
        <p:txBody>
          <a:bodyPr>
            <a:normAutofit fontScale="25000" lnSpcReduction="20000"/>
          </a:bodyPr>
          <a:lstStyle/>
          <a:p>
            <a:pPr marL="0" indent="0" algn="ctr">
              <a:buNone/>
            </a:pPr>
            <a:endParaRPr lang="da-DK" sz="49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endParaRPr lang="da-DK" sz="43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endParaRPr lang="da-DK" sz="43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r>
              <a:rPr lang="da-DK" sz="17600" b="1" i="1">
                <a:solidFill>
                  <a:schemeClr val="tx1"/>
                </a:solidFill>
                <a:latin typeface="Comic Sans MS"/>
              </a:rPr>
              <a:t>Kategorier:</a:t>
            </a:r>
          </a:p>
          <a:p>
            <a:pPr marL="0" indent="0" algn="ctr">
              <a:buNone/>
            </a:pPr>
            <a:endParaRPr lang="da-DK" sz="93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Famillie:24</a:t>
            </a: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Hygge:42</a:t>
            </a: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Koncert &amp; Foredrag:14</a:t>
            </a: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Sport:20</a:t>
            </a:r>
          </a:p>
          <a:p>
            <a:pPr marL="0" indent="0" algn="ctr">
              <a:buNone/>
            </a:pPr>
            <a:endParaRPr lang="da-DK" sz="128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Heraf har 61 været med partner og 31 som familie event</a:t>
            </a:r>
            <a:br>
              <a:rPr lang="da-DK" sz="12800" b="1" i="1">
                <a:solidFill>
                  <a:schemeClr val="tx1"/>
                </a:solidFill>
                <a:latin typeface="Comic Sans MS"/>
              </a:rPr>
            </a:br>
            <a:br>
              <a:rPr lang="da-DK" sz="4900" b="1" i="1">
                <a:latin typeface="Comic Sans MS"/>
              </a:rPr>
            </a:br>
            <a:br>
              <a:rPr lang="da-DK" sz="4900" b="1" i="1">
                <a:latin typeface="Comic Sans MS"/>
              </a:rPr>
            </a:b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0997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3">
            <a:extLst>
              <a:ext uri="{FF2B5EF4-FFF2-40B4-BE49-F238E27FC236}">
                <a16:creationId xmlns:a16="http://schemas.microsoft.com/office/drawing/2014/main" id="{6CC7770B-E4E1-42D6-9437-DAA4A3A9E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A26DE5B-A1A6-4746-8EF7-4D6809ED75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77A3DDA-BF17-4302-867E-EBFD777B06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BE30704-4227-4B7B-BDB8-BFCF39086F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923B1E7-AEA4-42D8-8F4A-9D116F2966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21B6244-6EAE-442C-ACCF-8146103EC1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22" name="Rectangle 30">
            <a:extLst>
              <a:ext uri="{FF2B5EF4-FFF2-40B4-BE49-F238E27FC236}">
                <a16:creationId xmlns:a16="http://schemas.microsoft.com/office/drawing/2014/main" id="{781BBDC9-2DC6-4959-AC3D-49A5DCB05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CB4378-C95C-45D7-942D-D6F00751661C}"/>
              </a:ext>
            </a:extLst>
          </p:cNvPr>
          <p:cNvSpPr txBox="1"/>
          <p:nvPr/>
        </p:nvSpPr>
        <p:spPr>
          <a:xfrm>
            <a:off x="684212" y="685800"/>
            <a:ext cx="4754563" cy="5744736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FÅ EN GOD IDE TIL ET EVENT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KONTAKT LEVERANDØR OG LAV EN AFTALE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KONTAKT EVT. MØLLEBANDEN FOR GODE RÅD, TIPS OG TRICKS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LAV EN ANSØGNING PÅ HJEMME-SIDEN MED FLOT BESKRIVELSE AF EVENT OG BILLEDE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VED DEADLINE FOR TILMELDING : KONTAKT LEVERANDØR MED ENDELIGT ANTAL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TRÆK EN DELTAGERLISTE OG PAK BILLETTER TIL UDLEVERING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SEND INFO-MAIL TIL ALLE DELTAGERE 2-7 DAGE FØR EVENT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/>
              <a:t>MØD OP – DEL UD – OG NYD DIT EVENT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/>
              <a:t>SEND REGNINGEN TIL MØLLEBANDE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3" name="Rectangle 32">
            <a:extLst>
              <a:ext uri="{FF2B5EF4-FFF2-40B4-BE49-F238E27FC236}">
                <a16:creationId xmlns:a16="http://schemas.microsoft.com/office/drawing/2014/main" id="{08452CCF-4A27-488A-AAF4-424933CFC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5999" y="0"/>
            <a:ext cx="4657345" cy="685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235177-43FE-4983-8553-D9E96F2A891D}"/>
              </a:ext>
            </a:extLst>
          </p:cNvPr>
          <p:cNvSpPr txBox="1"/>
          <p:nvPr/>
        </p:nvSpPr>
        <p:spPr>
          <a:xfrm>
            <a:off x="6662057" y="685800"/>
            <a:ext cx="3777872" cy="5308599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defTabSz="45720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200" b="1" i="1" cap="all">
                <a:ln w="3175" cmpd="sng">
                  <a:noFill/>
                </a:ln>
                <a:latin typeface="Century Gothic" panose="020B0502020202020204"/>
              </a:rPr>
              <a:t>GÅR DU MED EN LILLE EVENTMAKER I MAVEN....?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B74BB55-8517-4CFE-9389-81D0E6F81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753344" y="0"/>
            <a:ext cx="1438656" cy="6858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A50E82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43190CD-45FC-4DE0-B596-17D4DE53E9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0769288" y="3770390"/>
            <a:ext cx="1419541" cy="1660354"/>
            <a:chOff x="10292292" y="2963333"/>
            <a:chExt cx="1896535" cy="221826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BD4334C-2554-4361-8CFF-394E624CF4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FC3CBA7-AF68-4075-BAC7-623C34B4F4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190344"/>
              <a:ext cx="1896535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A6C7307-1C78-4C8A-BF3D-FA420F177A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4CD1F94-6C7C-4E8F-9336-E312E9F5C7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5B11C2A-D791-46E1-B954-1184FB0802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77488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3DA9D0-3A8B-D4AE-E654-6D65FEE35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2" y="2676345"/>
            <a:ext cx="8534400" cy="3318054"/>
          </a:xfrm>
        </p:spPr>
        <p:txBody>
          <a:bodyPr>
            <a:normAutofit/>
          </a:bodyPr>
          <a:lstStyle/>
          <a:p>
            <a:pPr algn="ctr"/>
            <a:r>
              <a:rPr lang="en-US" sz="6000"/>
              <a:t>Jonas B. Kram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26A69B-8259-72CD-D6E1-FF405CD96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12</a:t>
            </a:fld>
            <a:endParaRPr lang="da-DK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FE4133C6-5A1E-7FF7-37D7-D59FC940B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4800" err="1"/>
              <a:t>Årets</a:t>
            </a:r>
            <a:r>
              <a:rPr lang="en-US" sz="4800"/>
              <a:t> event maker:</a:t>
            </a:r>
          </a:p>
        </p:txBody>
      </p:sp>
    </p:spTree>
    <p:extLst>
      <p:ext uri="{BB962C8B-B14F-4D97-AF65-F5344CB8AC3E}">
        <p14:creationId xmlns:p14="http://schemas.microsoft.com/office/powerpoint/2010/main" val="462492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B484C3-3300-CF82-2BE4-028BA47166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D04E31-BD1A-4756-B5FE-B5B54E5C2D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5F5C19-639E-09F0-7642-353B1A8CA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855A97-CED0-9FC5-C486-8E35D370E4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6C5F6E-2C08-C3A0-A825-3C75635B5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3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5F20845-E828-D679-0616-97151C9D003B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61498" cy="4208453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6.3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7.30           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15   	Møllebandens Events​ 2024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 b="1"/>
              <a:t>Regnskab &amp; Budget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1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John Harms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05542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16" imgH="216" progId="TCLayout.ActiveDocument.1">
                  <p:embed/>
                </p:oleObj>
              </mc:Choice>
              <mc:Fallback>
                <p:oleObj name="think-cell Slide" r:id="rId23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297" y="1142213"/>
            <a:ext cx="4997897" cy="418301"/>
          </a:xfrm>
        </p:spPr>
        <p:txBody>
          <a:bodyPr/>
          <a:lstStyle/>
          <a:p>
            <a:r>
              <a:rPr lang="da-DK"/>
              <a:t>Budget 2024 vs. Faktiske 2024 / </a:t>
            </a:r>
            <a:r>
              <a:rPr lang="da-DK" err="1"/>
              <a:t>kDKK</a:t>
            </a:r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4</a:t>
            </a:fld>
            <a:endParaRPr lang="da-DK"/>
          </a:p>
        </p:txBody>
      </p: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7E5EDDFB-75F8-43A5-A3CA-1666CC9D9583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849438" y="1608138"/>
          <a:ext cx="7800975" cy="234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87BBAD4-56C8-4FCA-8C7D-82703B0EE0D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74725" y="1947863"/>
            <a:ext cx="758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2F8875A-C79E-4A13-955E-EDE30832BB67}" type="datetime'''''''''I''n''''''d''t''''''''''''æ''gt''''''''''''''''''e''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Indtægter</a:t>
            </a:fld>
            <a:endParaRPr lang="en-US" sz="1400"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5D0E781-6390-4B97-8D9C-FE343E77ABE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12838" y="2673350"/>
            <a:ext cx="620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D28AE0B-EAEC-4B18-8915-68FB5F34C1A8}" type="datetime'''''''''''''''''''''''''''''''''''U''''dg''''if''''t''''e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Udgifter</a:t>
            </a:fld>
            <a:endParaRPr lang="en-US" sz="1400"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012BC62-A0B1-49CB-90F6-A40A22FA506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82675" y="3400425"/>
            <a:ext cx="650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6F3E5C-BE44-4D66-A3DD-432BFE298BE6}" type="datetime'''''''''''''''Re''''''''''''s''''''u''''''''''lt''''a''t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Resultat</a:t>
            </a:fld>
            <a:endParaRPr lang="en-US" sz="1400"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D4CA74-0128-4EAA-852F-032BEBB475C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683125" y="1181100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5816CD-EA28-4CC9-85AE-CDDF685501C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091238" y="1181100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273F8FE-1ECB-4292-8C42-EE6EB0F9119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984750" y="1176338"/>
            <a:ext cx="1004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Budget 2024</a:t>
            </a:r>
            <a:endParaRPr lang="en-US" sz="1400"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4570FEC-9B18-4156-AC8E-5A2BCB7D44B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392863" y="1176338"/>
            <a:ext cx="1438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err="1">
                <a:sym typeface="+mn-lt"/>
              </a:rPr>
              <a:t>Årsregnskab</a:t>
            </a:r>
            <a:r>
              <a:rPr lang="en-US" sz="1400">
                <a:sym typeface="+mn-lt"/>
              </a:rPr>
              <a:t> 2024</a:t>
            </a:r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1EAAA6DE-549A-43DB-9E69-90DA82A4BD49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1077913" y="4449763"/>
          <a:ext cx="8744513" cy="1382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DED8F48-E301-40CC-B3D7-3B4E9873C32D}"/>
              </a:ext>
            </a:extLst>
          </p:cNvPr>
          <p:cNvSpPr>
            <a:spLocks noGrp="1"/>
          </p:cNvSpPr>
          <p:nvPr/>
        </p:nvSpPr>
        <p:spPr bwMode="auto">
          <a:xfrm>
            <a:off x="7211362" y="5815484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F51D7EA-BB00-442B-88BB-18BE9640CF62}" type="datetime'''''''''''2''''''''''''02''''''''2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B274231-245E-4D9D-8773-1D303A34E3E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400756" y="5810070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AA07D8-996B-4F90-8FBA-8D66B60042FE}" type="datetime'''''''''''''2''''''0''''''''''''''''1''''''6'''''">
              <a:rPr lang="en-GB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EF31358-F416-4A32-BDE8-98C80AE1C73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04384" y="5832475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36E48D-338F-4097-91D0-556E6C4703D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292027" y="5808477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7DEFC4-A2CF-4045-BCA0-9372B3DD2183}" type="datetime'''''''''''''''''20''''''''''''''''''''''''''''1''''''''''9'''">
              <a:rPr lang="en-US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38F6196-5CCB-4E07-AA43-C8C585FBCBB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399165" y="5784479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E3ADA68-17BE-40BD-9B01-771E0FB00164}" type="datetime'''''''''''''''''''''''''''''''''''''''''2''''''0''1''7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E9474F6-EC0B-425B-9EA6-75051CF8641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198037" y="5784478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F8C871-3FDA-46BE-9290-5229617C681E}" type="datetime'''''''''2''''''''''''''''''''''''''''''''0''2''1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7921388-F291-4C27-B766-406BC5C6EBE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278479" y="5784478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F0A82E-D8E5-4668-9B21-CF5DF5B973AC}" type="datetime'''''2''''''''''''''''''''''''''0''''''''''''''''''20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9B13EB1-D281-4AF1-8648-E1ACD6E531F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45596" y="5798493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0F3DD9-7A1A-4FF3-9124-988E5DFBA497}" type="datetime'''''''''''''''''2''0''''1''''''8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B7694804-DC6A-43CE-9BD9-B104836C0EF3}"/>
              </a:ext>
            </a:extLst>
          </p:cNvPr>
          <p:cNvSpPr>
            <a:spLocks noGrp="1"/>
          </p:cNvSpPr>
          <p:nvPr/>
        </p:nvSpPr>
        <p:spPr bwMode="gray">
          <a:xfrm>
            <a:off x="5899717" y="3247982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sz="1400"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CCBCA23F-8C57-3837-2C6D-277E1D2382BF}"/>
              </a:ext>
            </a:extLst>
          </p:cNvPr>
          <p:cNvSpPr>
            <a:spLocks noGrp="1"/>
          </p:cNvSpPr>
          <p:nvPr/>
        </p:nvSpPr>
        <p:spPr bwMode="auto">
          <a:xfrm>
            <a:off x="8130920" y="5779951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2023</a:t>
            </a:r>
            <a:endParaRPr lang="en-US" sz="1400"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71E829B-0FB8-9F44-B335-265756C86BA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157793" y="5086623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ym typeface="+mn-lt"/>
              </a:rPr>
              <a:t>629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8342821-9CEC-3E4F-698B-A57CA76CDF20}"/>
              </a:ext>
            </a:extLst>
          </p:cNvPr>
          <p:cNvSpPr txBox="1"/>
          <p:nvPr/>
        </p:nvSpPr>
        <p:spPr>
          <a:xfrm>
            <a:off x="548297" y="4125912"/>
            <a:ext cx="338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err="1"/>
              <a:t>Egenkapitaludvikling</a:t>
            </a:r>
            <a:r>
              <a:rPr lang="en-GB"/>
              <a:t> / DKK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887AA8-1E19-D0D0-8C0F-07E885B1831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998162" y="4685349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sz="1400">
                <a:sym typeface="+mn-lt"/>
              </a:rPr>
              <a:t>1245</a:t>
            </a:r>
            <a:endParaRPr lang="en-US" sz="1400"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E732E34-5DBE-83B3-D3AE-2190489DEF7C}"/>
              </a:ext>
            </a:extLst>
          </p:cNvPr>
          <p:cNvSpPr>
            <a:spLocks noGrp="1"/>
          </p:cNvSpPr>
          <p:nvPr/>
        </p:nvSpPr>
        <p:spPr bwMode="auto">
          <a:xfrm>
            <a:off x="9077351" y="5779950"/>
            <a:ext cx="365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2024</a:t>
            </a:r>
            <a:endParaRPr lang="en-US" sz="14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50670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/>
              <a:t>Årsregnskabet 2024</a:t>
            </a:r>
          </a:p>
          <a:p>
            <a:endParaRPr lang="da-DK"/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6A93498-D709-4606-93BB-0C3A4FCE74B9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56338" y="1412875"/>
            <a:ext cx="5256154" cy="4459287"/>
          </a:xfrm>
        </p:spPr>
        <p:txBody>
          <a:bodyPr anchor="t"/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Årsregnskabet er revideret og mundtligt godkendt uden kommentarer af Irene Jespersen, udpeget af SGRE-ledelsen​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Lene Moellgaard der blev udpeget på sidste Generalforsamling af medlemmerne af Møllebanden som kritisk revisor​ har godkendt årsregnskabet,</a:t>
            </a:r>
            <a:br>
              <a:rPr lang="da-DK" sz="1600"/>
            </a:br>
            <a:r>
              <a:rPr lang="da-DK" sz="1600"/>
              <a:t>og stadig med ønsket om at der fremover indføres en ”halvårlig revision”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SPØRGSMÅL?​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Bestyrelsen i Møllebanden anbefaler, at årsrapporten godkendes​</a:t>
            </a:r>
            <a:endParaRPr lang="da-DK" sz="1600"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/>
          </a:p>
          <a:p>
            <a:endParaRPr lang="da-DK" sz="1600"/>
          </a:p>
          <a:p>
            <a:endParaRPr lang="en-US" sz="16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5</a:t>
            </a:fld>
            <a:endParaRPr lang="da-DK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C00A6F-1025-A09F-3E55-E0F0E3092A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508" y="1684699"/>
            <a:ext cx="4387442" cy="4406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7461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412875"/>
            <a:ext cx="5424487" cy="307777"/>
          </a:xfrm>
        </p:spPr>
        <p:txBody>
          <a:bodyPr/>
          <a:lstStyle/>
          <a:p>
            <a:r>
              <a:rPr lang="da-DK"/>
              <a:t>Budget 2025</a:t>
            </a:r>
          </a:p>
          <a:p>
            <a:endParaRPr lang="da-DK"/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4F17845-4D22-45ED-9899-3BF6E77ACD4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243804" y="745342"/>
            <a:ext cx="6408755" cy="2444725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SGRE ledelsen har givet tilsagn til at fortsætte med nuværende tilskud, 35,- DKK/MDR/Medle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Bestyrelsen anbefaler vi fortsætter med uændret medlemskontingent 35,- DKK/MD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SPØRGSMÅL?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Bestyrelsen i Møllebanden anbefaler, at budgettet for 2025 godkendes</a:t>
            </a:r>
          </a:p>
          <a:p>
            <a:endParaRPr lang="da-DK"/>
          </a:p>
          <a:p>
            <a:endParaRPr lang="da-DK"/>
          </a:p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6</a:t>
            </a:fld>
            <a:endParaRPr lang="da-DK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FAB43A1-EA11-4255-B86F-726004BB6D60}"/>
              </a:ext>
            </a:extLst>
          </p:cNvPr>
          <p:cNvSpPr txBox="1"/>
          <p:nvPr/>
        </p:nvSpPr>
        <p:spPr>
          <a:xfrm>
            <a:off x="5318288" y="3507143"/>
            <a:ext cx="33893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err="1"/>
              <a:t>Egenkapitaludvikling</a:t>
            </a:r>
            <a:r>
              <a:rPr lang="en-GB" sz="1600" b="1"/>
              <a:t> / DKK</a:t>
            </a: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A8A5EC22-E8C4-4CBE-B9BC-BBD6CC51973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318288" y="3976490"/>
          <a:ext cx="5808338" cy="1851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2032FEFB-C5FB-42FB-BAEA-44B4B7259EF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9292273" y="428021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021908F-59F2-4B5E-8BF9-6817B069FB0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292273" y="4280218"/>
            <a:ext cx="885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59E0AE8-F58F-4CC5-9FC4-712F6CEA1C13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10178098" y="4280218"/>
            <a:ext cx="0" cy="24983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D4225D-9A52-463F-89E3-923BA9F25DF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986010" y="5798265"/>
            <a:ext cx="406400" cy="158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2025</a:t>
            </a:r>
            <a:endParaRPr lang="en-US" sz="140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90E05D6-59AA-47D6-A84B-621B888831E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20472" y="4191953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D8DC933-BD83-4105-A2C4-90E882B5AF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44185" y="579469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0DA7BC9-8807-475C-9621-163B010D237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 flipH="1">
            <a:off x="5015941" y="4294529"/>
            <a:ext cx="1681562" cy="171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DBCDD6-23DC-4743-B490-B8291AFDE3B7}" type="datetime'''''''''1'''',''''07''''''''''''''''3''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,073</a:t>
            </a:fld>
            <a:endParaRPr lang="en-US" sz="14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17F3945-3335-456D-836F-959B7E8B38D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430010" y="579469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25CFCEC0-B110-4174-A12D-60BA5D61B64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670535" y="5777546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57FDA40-C178-4D37-A3D7-B4B55534FE47}" type="datetime'2''0''''''''''21''''''''''''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13114FD-DCB1-4DA4-A7D1-73E0F6D540A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64380" y="5786571"/>
            <a:ext cx="406400" cy="204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4103BA-76E5-463B-A5BC-ACA11E43FB4D}" type="datetime'''''''''''''''''''''''''''''''2''''''''''''0''2''2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23A7011-DA9F-46FF-9DC4-389776FF4EFF}"/>
              </a:ext>
            </a:extLst>
          </p:cNvPr>
          <p:cNvSpPr>
            <a:spLocks noGrp="1"/>
          </p:cNvSpPr>
          <p:nvPr/>
        </p:nvSpPr>
        <p:spPr bwMode="auto">
          <a:xfrm>
            <a:off x="7816057" y="5786571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6B0E1A-131C-44E4-94B1-EDD045AE5D14}" type="datetime'''''''''''''2''02''''''''3''''''''''''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40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529E55F6-06A8-434C-B0E0-D8A9D0616ED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608477" y="3921859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D3696484-1079-407D-8807-61547CA1741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500528" y="3763766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ACE6BF3-1590-4A5A-94F5-E5E6F38680B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484360" y="4129405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sz="1400" b="1"/>
              <a:t>-215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2B0FE36-00D1-B26B-B019-836ED9F3953F}"/>
              </a:ext>
            </a:extLst>
          </p:cNvPr>
          <p:cNvSpPr>
            <a:spLocks noGrp="1"/>
          </p:cNvSpPr>
          <p:nvPr/>
        </p:nvSpPr>
        <p:spPr bwMode="auto">
          <a:xfrm>
            <a:off x="8910339" y="5797737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2024</a:t>
            </a:r>
            <a:endParaRPr lang="en-US" sz="14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8AE9A7E-FDF9-662E-5854-84642D1F5F8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868345" y="42535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/>
              <a:t>1245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28A6141-BBAC-2DE6-448D-675E8513FBF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40335" y="1720652"/>
            <a:ext cx="3277057" cy="4278646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F918534-BB06-DD6C-489D-25FD51A659B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37865" y="4423692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sz="1400"/>
              <a:t>1030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8522587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8162" y="347664"/>
            <a:ext cx="8461376" cy="180000"/>
          </a:xfrm>
        </p:spPr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7</a:t>
            </a:fld>
            <a:endParaRPr lang="da-DK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1BE622-C43F-4F53-9EF7-AE95C277AB41}"/>
              </a:ext>
            </a:extLst>
          </p:cNvPr>
          <p:cNvSpPr txBox="1"/>
          <p:nvPr/>
        </p:nvSpPr>
        <p:spPr>
          <a:xfrm>
            <a:off x="7355297" y="1182973"/>
            <a:ext cx="4335662" cy="42780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/>
              <a:t>BESTYRELSEN BESTÅR AF 9 STEMMEBERETTIGEDE BESTYRELSESMEDLEMMER SAMT 2 SUPPLEANTER</a:t>
            </a:r>
          </a:p>
          <a:p>
            <a:endParaRPr lang="en-GB" sz="1600"/>
          </a:p>
          <a:p>
            <a:r>
              <a:rPr lang="en-GB" sz="1600"/>
              <a:t>BESTYRELSESMEDLEMMER VÆLGES FOR 2 ÅR. SUPPLEANTER VÆLGES FOR 1 ÅR.</a:t>
            </a:r>
            <a:endParaRPr lang="en-GB" sz="1600">
              <a:cs typeface="Arial"/>
            </a:endParaRPr>
          </a:p>
          <a:p>
            <a:endParaRPr lang="en-GB" sz="1600">
              <a:solidFill>
                <a:srgbClr val="FF0000"/>
              </a:solidFill>
            </a:endParaRPr>
          </a:p>
          <a:p>
            <a:r>
              <a:rPr lang="en-GB" sz="1600">
                <a:solidFill>
                  <a:srgbClr val="FF0000"/>
                </a:solidFill>
              </a:rPr>
              <a:t>4 BESTYRELSESPLADSER +</a:t>
            </a:r>
            <a:endParaRPr lang="en-GB" sz="1600">
              <a:solidFill>
                <a:srgbClr val="FF0000"/>
              </a:solidFill>
              <a:cs typeface="Arial"/>
            </a:endParaRPr>
          </a:p>
          <a:p>
            <a:r>
              <a:rPr lang="en-GB" sz="1600">
                <a:solidFill>
                  <a:srgbClr val="FF0000"/>
                </a:solidFill>
              </a:rPr>
              <a:t>2 SUPPLEANTPLADSER SKAL BESÆTTES</a:t>
            </a:r>
            <a:endParaRPr lang="en-GB" sz="1600">
              <a:solidFill>
                <a:srgbClr val="FF0000"/>
              </a:solidFill>
              <a:cs typeface="Arial"/>
            </a:endParaRPr>
          </a:p>
          <a:p>
            <a:endParaRPr lang="en-GB" sz="1600">
              <a:solidFill>
                <a:srgbClr val="FF0000"/>
              </a:solidFill>
              <a:cs typeface="Arial"/>
            </a:endParaRPr>
          </a:p>
          <a:p>
            <a:r>
              <a:rPr lang="en-GB" sz="1600"/>
              <a:t>DE </a:t>
            </a:r>
            <a:r>
              <a:rPr lang="en-GB" sz="1600">
                <a:solidFill>
                  <a:srgbClr val="FF0000"/>
                </a:solidFill>
              </a:rPr>
              <a:t>X</a:t>
            </a:r>
            <a:r>
              <a:rPr lang="en-GB" sz="1600"/>
              <a:t> OPSTILLEDE KANDIDATER MED FLEST STEMMER BLIVER BESTYRELSESMEDLEMMER, DEREFTER BESÆTTES HHV. 1. SUPPLEANT OG 2. SUPPLEANT UD FRA FLEST STEMMER</a:t>
            </a:r>
            <a:endParaRPr lang="en-GB" sz="1600">
              <a:cs typeface="Arial"/>
            </a:endParaRPr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D488FA64-A4FC-4547-943F-86CB8849E5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555127"/>
              </p:ext>
            </p:extLst>
          </p:nvPr>
        </p:nvGraphicFramePr>
        <p:xfrm>
          <a:off x="501041" y="1158657"/>
          <a:ext cx="6854256" cy="86892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23845">
                  <a:extLst>
                    <a:ext uri="{9D8B030D-6E8A-4147-A177-3AD203B41FA5}">
                      <a16:colId xmlns:a16="http://schemas.microsoft.com/office/drawing/2014/main" val="1085499574"/>
                    </a:ext>
                  </a:extLst>
                </a:gridCol>
                <a:gridCol w="3430411">
                  <a:extLst>
                    <a:ext uri="{9D8B030D-6E8A-4147-A177-3AD203B41FA5}">
                      <a16:colId xmlns:a16="http://schemas.microsoft.com/office/drawing/2014/main" val="742047880"/>
                    </a:ext>
                  </a:extLst>
                </a:gridCol>
              </a:tblGrid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Dan Mortensen, Formand</a:t>
                      </a:r>
                      <a:endParaRPr lang="da-DK"/>
                    </a:p>
                    <a:p>
                      <a:pPr lvl="0">
                        <a:buNone/>
                      </a:pPr>
                      <a:r>
                        <a:rPr lang="da-DK" sz="1600" err="1"/>
                        <a:t>Tabea</a:t>
                      </a:r>
                      <a:r>
                        <a:rPr lang="da-DK" sz="1600"/>
                        <a:t> </a:t>
                      </a:r>
                      <a:r>
                        <a:rPr lang="da-DK" sz="1600" err="1"/>
                        <a:t>Schadwinkel</a:t>
                      </a:r>
                      <a:r>
                        <a:rPr lang="da-DK" sz="1600"/>
                        <a:t>, Næstformand</a:t>
                      </a:r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Vibeke Lund </a:t>
                      </a:r>
                      <a:endParaRPr lang="da-DK"/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Marianne Ludvigsen</a:t>
                      </a:r>
                      <a:endParaRPr lang="da-DK"/>
                    </a:p>
                    <a:p>
                      <a:pPr lvl="0">
                        <a:buNone/>
                      </a:pP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da-DK" sz="1600"/>
                        <a:t>Pia B. Simmelkjær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Per E. Poulsen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Torbjørn Sølberg</a:t>
                      </a:r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Daniel T. </a:t>
                      </a:r>
                      <a:r>
                        <a:rPr lang="da-DK" sz="16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Avram</a:t>
                      </a: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  <a:p>
                      <a:pPr lvl="0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Birgitte Søb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GENOPSTILLER</a:t>
                      </a:r>
                      <a:endParaRPr lang="da-DK"/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GENOPSTILLER IKKE</a:t>
                      </a:r>
                      <a:endParaRPr lang="da-DK"/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GENOPSTILLER IKKE</a:t>
                      </a:r>
                      <a:endParaRPr lang="da-DK"/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GENOPSTILLER</a:t>
                      </a:r>
                      <a:endParaRPr lang="da-DK"/>
                    </a:p>
                    <a:p>
                      <a:pPr lvl="0" algn="ctr">
                        <a:buNone/>
                      </a:pP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Valgt for 2024/2025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Valgt for 2024/2025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4/2025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4/2025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4/2025</a:t>
                      </a:r>
                    </a:p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2336446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 u="sng"/>
                        <a:t>Suppleanter:</a:t>
                      </a:r>
                      <a:endParaRPr lang="da-DK"/>
                    </a:p>
                    <a:p>
                      <a:pPr lvl="0">
                        <a:buNone/>
                      </a:pPr>
                      <a:endParaRPr lang="da-DK" sz="1600" u="sng"/>
                    </a:p>
                    <a:p>
                      <a:pPr lvl="0">
                        <a:buNone/>
                      </a:pPr>
                      <a:r>
                        <a:rPr lang="en-GB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Maylenah Marion </a:t>
                      </a:r>
                      <a:r>
                        <a:rPr lang="en-GB" sz="16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Wiliemsborg</a:t>
                      </a:r>
                    </a:p>
                    <a:p>
                      <a:pPr lvl="0">
                        <a:buNone/>
                      </a:pPr>
                      <a:r>
                        <a:rPr lang="en-GB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Barbora </a:t>
                      </a:r>
                      <a:r>
                        <a:rPr lang="en-GB" sz="16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Gasparova</a:t>
                      </a:r>
                      <a:endParaRPr lang="en-GB" sz="1600"/>
                    </a:p>
                    <a:p>
                      <a:pPr lvl="0">
                        <a:buNone/>
                      </a:pP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  <a:p>
                      <a:pPr lvl="0" algn="ctr">
                        <a:buNone/>
                      </a:pPr>
                      <a:endParaRPr lang="da-DK" sz="16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GENOPSTILLER</a:t>
                      </a:r>
                      <a:endParaRPr lang="da-DK"/>
                    </a:p>
                    <a:p>
                      <a:pPr lvl="0" algn="ctr">
                        <a:buNone/>
                      </a:pPr>
                      <a:r>
                        <a:rPr lang="da-DK" sz="16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GENOPSTILLER IKKE</a:t>
                      </a:r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092633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375898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268623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2786709"/>
                  </a:ext>
                </a:extLst>
              </a:tr>
              <a:tr h="1409658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300639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da-DK" sz="1600" u="sn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1299980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8934337"/>
                  </a:ext>
                </a:extLst>
              </a:tr>
              <a:tr h="525165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a-DK" sz="1600" b="0" i="0" u="none" strike="noStrike" noProof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4975031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8077269"/>
                  </a:ext>
                </a:extLst>
              </a:tr>
              <a:tr h="4146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5152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2526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8</a:t>
            </a:fld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B4B4D0-29E4-4778-863D-84D1F1E7D884}"/>
              </a:ext>
            </a:extLst>
          </p:cNvPr>
          <p:cNvSpPr txBox="1"/>
          <p:nvPr/>
        </p:nvSpPr>
        <p:spPr>
          <a:xfrm>
            <a:off x="481595" y="1371600"/>
            <a:ext cx="5145389" cy="41395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00"/>
              <a:t>4 </a:t>
            </a:r>
            <a:r>
              <a:rPr lang="en-GB" sz="1400" err="1"/>
              <a:t>bestyrelsesmedlemmer</a:t>
            </a:r>
            <a:r>
              <a:rPr lang="en-GB" sz="1400"/>
              <a:t> </a:t>
            </a:r>
            <a:r>
              <a:rPr lang="en-GB" sz="1400" err="1"/>
              <a:t>og</a:t>
            </a:r>
            <a:r>
              <a:rPr lang="en-GB" sz="1400"/>
              <a:t> 2 </a:t>
            </a:r>
            <a:r>
              <a:rPr lang="en-GB" sz="1400" err="1"/>
              <a:t>suppleanter</a:t>
            </a:r>
            <a:r>
              <a:rPr lang="en-GB" sz="1400"/>
              <a:t> </a:t>
            </a:r>
            <a:r>
              <a:rPr lang="en-GB" sz="1400" err="1"/>
              <a:t>skal</a:t>
            </a:r>
            <a:r>
              <a:rPr lang="en-GB" sz="1400"/>
              <a:t> </a:t>
            </a:r>
            <a:r>
              <a:rPr lang="en-GB" sz="1400" err="1"/>
              <a:t>vælges</a:t>
            </a:r>
            <a:r>
              <a:rPr lang="en-GB" sz="1400"/>
              <a:t>.</a:t>
            </a:r>
          </a:p>
          <a:p>
            <a:endParaRPr lang="en-GB" sz="1400"/>
          </a:p>
          <a:p>
            <a:r>
              <a:rPr lang="en-GB" sz="1400" b="1" err="1"/>
              <a:t>Hvem</a:t>
            </a:r>
            <a:r>
              <a:rPr lang="en-GB" sz="1400" b="1"/>
              <a:t> stiller op?</a:t>
            </a:r>
            <a:endParaRPr lang="en-GB" sz="1400" b="1">
              <a:cs typeface="Arial"/>
            </a:endParaRPr>
          </a:p>
          <a:p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Dan Mortensen</a:t>
            </a: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Maylenah Marion </a:t>
            </a:r>
            <a:r>
              <a:rPr lang="en-GB" sz="1400" b="1" err="1">
                <a:cs typeface="Arial"/>
              </a:rPr>
              <a:t>Wiliemsborg</a:t>
            </a:r>
            <a:r>
              <a:rPr lang="en-GB" sz="1400" b="1">
                <a:cs typeface="Arial"/>
              </a:rPr>
              <a:t> </a:t>
            </a: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Marianne Ludvigsen</a:t>
            </a: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Morten Søndergaard</a:t>
            </a:r>
          </a:p>
          <a:p>
            <a:pPr marL="285750" indent="-285750">
              <a:buFont typeface="Calibri"/>
              <a:buChar char="-"/>
            </a:pPr>
            <a:r>
              <a:rPr lang="en-GB" sz="1400" b="1">
                <a:cs typeface="Arial"/>
              </a:rPr>
              <a:t>Christopher Sørensen</a:t>
            </a: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buFont typeface="Calibri"/>
              <a:buChar char="-"/>
            </a:pPr>
            <a:endParaRPr lang="en-GB" sz="1400" b="1">
              <a:cs typeface="Arial"/>
            </a:endParaRPr>
          </a:p>
          <a:p>
            <a:pPr marL="285750" indent="-285750">
              <a:spcBef>
                <a:spcPts val="600"/>
              </a:spcBef>
              <a:buFont typeface="Calibri" panose="020B0604020202020204" pitchFamily="34" charset="0"/>
              <a:buChar char="-"/>
            </a:pPr>
            <a:endParaRPr lang="en-GB" sz="2000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D28B04-17F3-4014-8FB5-43BB1E461F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7413" y="646354"/>
            <a:ext cx="6384587" cy="5434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698ED41-C3E8-486F-AD21-3935B12EA1D6}"/>
              </a:ext>
            </a:extLst>
          </p:cNvPr>
          <p:cNvSpPr txBox="1"/>
          <p:nvPr/>
        </p:nvSpPr>
        <p:spPr>
          <a:xfrm>
            <a:off x="341011" y="5758777"/>
            <a:ext cx="5466402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/>
              <a:t>SKRIV OP TIL 5 NAVNE PÅ STEMMESEDLEN!</a:t>
            </a:r>
          </a:p>
        </p:txBody>
      </p:sp>
    </p:spTree>
    <p:extLst>
      <p:ext uri="{BB962C8B-B14F-4D97-AF65-F5344CB8AC3E}">
        <p14:creationId xmlns:p14="http://schemas.microsoft.com/office/powerpoint/2010/main" val="2840838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61498" cy="4208453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6.3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7.30           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15   	Møllebandens Events​ 2024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 19.15 </a:t>
            </a:r>
            <a:r>
              <a:rPr lang="da-DK" sz="1600" b="1">
                <a:solidFill>
                  <a:srgbClr val="FF0000"/>
                </a:solidFill>
              </a:rPr>
              <a:t>   </a:t>
            </a:r>
            <a:r>
              <a:rPr lang="da-DK" sz="1600" b="1"/>
              <a:t>            Underholdning ved John Harmsen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6857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61498" cy="4208453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16.30  	Velkomst – Dan Mortensen</a:t>
            </a:r>
            <a:endParaRPr lang="da-DK" sz="1600" b="1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6.3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7.30           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15   	Møllebandens Events​ 2024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1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John Harm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39920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459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 vert="horz"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revisor 202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0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B6429-EB7C-432F-B4E4-2BABD1841238}"/>
              </a:ext>
            </a:extLst>
          </p:cNvPr>
          <p:cNvSpPr txBox="1"/>
          <p:nvPr/>
        </p:nvSpPr>
        <p:spPr>
          <a:xfrm>
            <a:off x="538162" y="1363528"/>
            <a:ext cx="9743262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600"/>
              <a:t>ÅRSREGNSKABET REVIDERES OG GODKENDES HVERT ÅR AF EN AF SGRE UDVALGT REVISOR.</a:t>
            </a:r>
          </a:p>
          <a:p>
            <a:endParaRPr lang="en-GB" sz="1600"/>
          </a:p>
          <a:p>
            <a:r>
              <a:rPr lang="en-GB" sz="1600"/>
              <a:t>SAMTIDIG HAR MEDLEMMERNE MULIGHED FOR AT UDVÆLGE EN KRITISK REVISOR DER GENNEMSER ÅRSREGNSKABET PÅ VEGNE AF MEDLEMMERN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D5C9BD0-DEBA-441F-9811-E50C4D0B74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2" y="2848497"/>
            <a:ext cx="8460000" cy="3028427"/>
          </a:xfrm>
        </p:spPr>
        <p:txBody>
          <a:bodyPr/>
          <a:lstStyle/>
          <a:p>
            <a:r>
              <a:rPr lang="en-US" b="1" i="1"/>
              <a:t>Lene Møllgaard </a:t>
            </a:r>
            <a:r>
              <a:rPr lang="en-US" err="1"/>
              <a:t>tilbyder</a:t>
            </a:r>
            <a:r>
              <a:rPr lang="en-US"/>
              <a:t> at </a:t>
            </a:r>
            <a:r>
              <a:rPr lang="en-US" err="1"/>
              <a:t>være</a:t>
            </a:r>
            <a:r>
              <a:rPr lang="en-US"/>
              <a:t> </a:t>
            </a:r>
            <a:r>
              <a:rPr lang="en-US" err="1"/>
              <a:t>kritisk</a:t>
            </a:r>
            <a:r>
              <a:rPr lang="en-US"/>
              <a:t> revisor for </a:t>
            </a:r>
            <a:r>
              <a:rPr lang="en-US" err="1"/>
              <a:t>medlemmerne</a:t>
            </a:r>
            <a:r>
              <a:rPr lang="en-US"/>
              <a:t> </a:t>
            </a:r>
            <a:r>
              <a:rPr lang="en-US" err="1"/>
              <a:t>igen</a:t>
            </a:r>
            <a:endParaRPr lang="en-US" err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0042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572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Resultat af val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1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6FEC16-E623-48C9-9672-CDEEC8F33320}"/>
              </a:ext>
            </a:extLst>
          </p:cNvPr>
          <p:cNvSpPr txBox="1"/>
          <p:nvPr/>
        </p:nvSpPr>
        <p:spPr>
          <a:xfrm>
            <a:off x="6167437" y="1223070"/>
            <a:ext cx="5269251" cy="3831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da-DK" b="1"/>
              <a:t>Bestyrelsespladser</a:t>
            </a:r>
            <a:r>
              <a:rPr lang="da-DK"/>
              <a:t>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Da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Mariann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Christoph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Morten</a:t>
            </a:r>
            <a:br>
              <a:rPr lang="da-DK">
                <a:cs typeface="Arial"/>
              </a:rPr>
            </a:br>
            <a:endParaRPr lang="da-DK">
              <a:cs typeface="Arial"/>
            </a:endParaRPr>
          </a:p>
          <a:p>
            <a:pPr>
              <a:spcBef>
                <a:spcPts val="600"/>
              </a:spcBef>
            </a:pPr>
            <a:r>
              <a:rPr lang="da-DK" b="1"/>
              <a:t>1. Suppleant:</a:t>
            </a:r>
            <a:endParaRPr lang="da-DK" b="1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err="1">
                <a:cs typeface="Arial"/>
              </a:rPr>
              <a:t>Maylenah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>
              <a:cs typeface="Arial"/>
            </a:endParaRPr>
          </a:p>
          <a:p>
            <a:pPr>
              <a:spcBef>
                <a:spcPts val="600"/>
              </a:spcBef>
            </a:pPr>
            <a:endParaRPr lang="da-DK" b="1">
              <a:cs typeface="Arial"/>
            </a:endParaRPr>
          </a:p>
          <a:p>
            <a:pPr>
              <a:spcBef>
                <a:spcPts val="600"/>
              </a:spcBef>
            </a:pPr>
            <a:endParaRPr lang="da-DK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36311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46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378" y="2188660"/>
            <a:ext cx="4022796" cy="92333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br>
              <a:rPr lang="da-DK"/>
            </a:br>
            <a:br>
              <a:rPr lang="da-DK"/>
            </a:br>
            <a:endParaRPr lang="da-DK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2</a:t>
            </a:fld>
            <a:endParaRPr lang="da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EED0D6-AAEE-5666-403C-64B74F191C02}"/>
              </a:ext>
            </a:extLst>
          </p:cNvPr>
          <p:cNvSpPr txBox="1"/>
          <p:nvPr/>
        </p:nvSpPr>
        <p:spPr>
          <a:xfrm>
            <a:off x="3760305" y="2567608"/>
            <a:ext cx="5062329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800" b="1">
                <a:cs typeface="Arial"/>
              </a:rPr>
              <a:t>Tak for </a:t>
            </a:r>
            <a:r>
              <a:rPr lang="en-US" sz="4800" b="1" err="1">
                <a:cs typeface="Arial"/>
              </a:rPr>
              <a:t>i</a:t>
            </a:r>
            <a:r>
              <a:rPr lang="en-US" sz="4800" b="1">
                <a:cs typeface="Arial"/>
              </a:rPr>
              <a:t> </a:t>
            </a:r>
            <a:r>
              <a:rPr lang="en-US" sz="4800" b="1" err="1">
                <a:cs typeface="Arial"/>
              </a:rPr>
              <a:t>aften</a:t>
            </a:r>
            <a:r>
              <a:rPr lang="en-US" sz="4800" b="1">
                <a:cs typeface="Arial"/>
              </a:rPr>
              <a:t>!</a:t>
            </a:r>
            <a:endParaRPr lang="en-US" sz="4800" b="1" err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973841-DB8C-15F6-85EC-9B3F4102A8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Generalforsamiling</a:t>
            </a:r>
            <a:r>
              <a:rPr lang="en-US">
                <a:cs typeface="Arial"/>
              </a:rPr>
              <a:t>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53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61498" cy="4208453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 16.35	Generalforsamling ifølge dagsordenen </a:t>
            </a:r>
            <a:r>
              <a:rPr lang="da-DK" sz="1600"/>
              <a:t>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7.30           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 18.15   	Møllebandens Events​ 2024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1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John Harm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0981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592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52461"/>
            <a:ext cx="8460000" cy="307777"/>
          </a:xfrm>
        </p:spPr>
        <p:txBody>
          <a:bodyPr vert="horz"/>
          <a:lstStyle/>
          <a:p>
            <a:r>
              <a:rPr lang="da-DK"/>
              <a:t>Valg af dirigent og valg af stemmetæll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8F4F8F-86C3-4531-B0C5-664EA10E0D6B}"/>
              </a:ext>
            </a:extLst>
          </p:cNvPr>
          <p:cNvSpPr txBox="1"/>
          <p:nvPr/>
        </p:nvSpPr>
        <p:spPr>
          <a:xfrm>
            <a:off x="538162" y="1375108"/>
            <a:ext cx="5557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1 – </a:t>
            </a:r>
            <a:r>
              <a:rPr lang="en-GB" b="1" err="1"/>
              <a:t>Valg</a:t>
            </a:r>
            <a:r>
              <a:rPr lang="en-GB" b="1"/>
              <a:t> </a:t>
            </a:r>
            <a:r>
              <a:rPr lang="en-GB" b="1" err="1"/>
              <a:t>af</a:t>
            </a:r>
            <a:r>
              <a:rPr lang="en-GB" b="1"/>
              <a:t> </a:t>
            </a:r>
            <a:r>
              <a:rPr lang="en-GB" b="1" err="1"/>
              <a:t>dirigent</a:t>
            </a:r>
            <a:endParaRPr lang="en-GB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A2A266-7FBE-4332-A700-61D78AD65338}"/>
              </a:ext>
            </a:extLst>
          </p:cNvPr>
          <p:cNvSpPr txBox="1"/>
          <p:nvPr/>
        </p:nvSpPr>
        <p:spPr>
          <a:xfrm>
            <a:off x="538162" y="1805313"/>
            <a:ext cx="676731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 i="1" err="1"/>
              <a:t>Bestyrelsen</a:t>
            </a:r>
            <a:r>
              <a:rPr lang="en-GB" b="1" i="1"/>
              <a:t> </a:t>
            </a:r>
            <a:r>
              <a:rPr lang="en-GB" b="1" i="1" err="1"/>
              <a:t>foreslår</a:t>
            </a:r>
            <a:r>
              <a:rPr lang="en-GB" b="1" i="1"/>
              <a:t> Louise Heltborg </a:t>
            </a:r>
            <a:endParaRPr lang="en-US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67A3A1-67B6-4F7F-BF7F-9052DBA82314}"/>
              </a:ext>
            </a:extLst>
          </p:cNvPr>
          <p:cNvSpPr txBox="1"/>
          <p:nvPr/>
        </p:nvSpPr>
        <p:spPr>
          <a:xfrm>
            <a:off x="538162" y="2779630"/>
            <a:ext cx="676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2 – </a:t>
            </a:r>
            <a:r>
              <a:rPr lang="en-GB" b="1" err="1"/>
              <a:t>Valg</a:t>
            </a:r>
            <a:r>
              <a:rPr lang="en-GB" b="1"/>
              <a:t> </a:t>
            </a:r>
            <a:r>
              <a:rPr lang="en-GB" b="1" err="1"/>
              <a:t>af</a:t>
            </a:r>
            <a:r>
              <a:rPr lang="en-GB" b="1"/>
              <a:t> </a:t>
            </a:r>
            <a:r>
              <a:rPr lang="en-GB" b="1" err="1"/>
              <a:t>stemmetællere</a:t>
            </a:r>
            <a:r>
              <a:rPr lang="en-GB" b="1"/>
              <a:t> (3 </a:t>
            </a:r>
            <a:r>
              <a:rPr lang="en-GB" b="1" err="1"/>
              <a:t>stk</a:t>
            </a:r>
            <a:r>
              <a:rPr lang="en-GB" b="1"/>
              <a:t>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81E27F3-AF94-480E-8E8D-1BE6705CFD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0127" y="3394501"/>
            <a:ext cx="3305686" cy="265714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8F2FCE2-E593-43E0-8170-F2B98D6F1635}"/>
              </a:ext>
            </a:extLst>
          </p:cNvPr>
          <p:cNvSpPr/>
          <p:nvPr/>
        </p:nvSpPr>
        <p:spPr>
          <a:xfrm>
            <a:off x="7065521" y="401936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pPr algn="ctr"/>
            <a:endParaRPr lang="en-US" sz="5400" b="0" cap="none" spc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0544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30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5</a:t>
            </a:fld>
            <a:endParaRPr lang="da-DK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248325"/>
            <a:ext cx="6880302" cy="768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36504" y="5523806"/>
            <a:ext cx="4984916" cy="998114"/>
          </a:xfrm>
        </p:spPr>
        <p:txBody>
          <a:bodyPr/>
          <a:lstStyle/>
          <a:p>
            <a:r>
              <a:rPr lang="en-US" sz="2400"/>
              <a:t> </a:t>
            </a:r>
            <a:r>
              <a:rPr lang="en-US" sz="2400" err="1"/>
              <a:t>Formandens</a:t>
            </a:r>
            <a:r>
              <a:rPr lang="en-US" sz="2400"/>
              <a:t> </a:t>
            </a:r>
            <a:r>
              <a:rPr lang="en-US" sz="2400" err="1"/>
              <a:t>beretning</a:t>
            </a:r>
            <a:r>
              <a:rPr lang="en-US" sz="2400"/>
              <a:t> for 2024</a:t>
            </a:r>
            <a:endParaRPr lang="da-DK" sz="2400"/>
          </a:p>
        </p:txBody>
      </p:sp>
      <p:pic>
        <p:nvPicPr>
          <p:cNvPr id="2" name="Picture 1" descr="Ingen tilgængelig billedbeskrivelse.">
            <a:extLst>
              <a:ext uri="{FF2B5EF4-FFF2-40B4-BE49-F238E27FC236}">
                <a16:creationId xmlns:a16="http://schemas.microsoft.com/office/drawing/2014/main" id="{57127818-7CB3-7DBD-62EF-571F72BAF4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6643" y="1229179"/>
            <a:ext cx="4943929" cy="371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55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6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52507"/>
            <a:ext cx="8061498" cy="4208453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 	Velkomst – Dan Mortensen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 16.35	Generalforsamling ifølge dagsordenen 	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	</a:t>
            </a:r>
            <a:r>
              <a:rPr lang="da-DK" sz="1600"/>
              <a:t>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7.30           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  18.15   	Møllebandens Events​ 2024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19.15 </a:t>
            </a:r>
            <a:r>
              <a:rPr lang="da-DK" sz="1600">
                <a:solidFill>
                  <a:srgbClr val="FF0000"/>
                </a:solidFill>
              </a:rPr>
              <a:t>   </a:t>
            </a:r>
            <a:r>
              <a:rPr lang="da-DK" sz="1600"/>
              <a:t>            Underholdning ved John Harmsen (mens vi optæller stemmer)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 21.00 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01833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93D8B-2CF1-4A92-9E41-B12516C247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93D8B-2CF1-4A92-9E41-B12516C24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87FD221-A9E2-4D0B-BD27-3C78FCF35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1" y="3050460"/>
            <a:ext cx="9898295" cy="2943939"/>
          </a:xfrm>
        </p:spPr>
        <p:txBody>
          <a:bodyPr vert="horz">
            <a:noAutofit/>
          </a:bodyPr>
          <a:lstStyle/>
          <a:p>
            <a:pPr algn="ctr"/>
            <a:r>
              <a:rPr lang="da-DK" sz="9600" b="1" i="1">
                <a:latin typeface="Comic Sans MS"/>
              </a:rPr>
              <a:t>EVENTS </a:t>
            </a:r>
            <a:r>
              <a:rPr lang="da-DK" sz="9600" i="1">
                <a:latin typeface="Comic Sans MS"/>
              </a:rPr>
              <a:t>2024</a:t>
            </a:r>
            <a:endParaRPr lang="da-DK" sz="9600" b="1" i="1">
              <a:latin typeface="Comic Sans MS" panose="030F0702030302020204" pitchFamily="66" charset="0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FBD4355-6B08-4F0A-835B-3CB105FC4A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/>
          <a:srcRect r="1478"/>
          <a:stretch/>
        </p:blipFill>
        <p:spPr>
          <a:xfrm>
            <a:off x="266642" y="2745"/>
            <a:ext cx="6513674" cy="209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412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26A69B-8259-72CD-D6E1-FF405CD96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8</a:t>
            </a:fld>
            <a:endParaRPr lang="da-DK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123F96DC-1532-F13E-5F02-FDA00F553A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4212" y="685800"/>
            <a:ext cx="9526437" cy="4334134"/>
          </a:xfrm>
        </p:spPr>
        <p:txBody>
          <a:bodyPr>
            <a:normAutofit fontScale="77500" lnSpcReduction="20000"/>
          </a:bodyPr>
          <a:lstStyle/>
          <a:p>
            <a:pPr marL="0" indent="0" algn="ctr">
              <a:buNone/>
            </a:pPr>
            <a:endParaRPr lang="da-DK" sz="49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endParaRPr lang="da-DK" sz="49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r>
              <a:rPr lang="da-DK" sz="4900" b="1" i="1">
                <a:solidFill>
                  <a:schemeClr val="tx1"/>
                </a:solidFill>
                <a:latin typeface="Comic Sans MS"/>
              </a:rPr>
              <a:t>Afholdte events 2024: 100</a:t>
            </a:r>
            <a:endParaRPr lang="en-US">
              <a:solidFill>
                <a:schemeClr val="tx1"/>
              </a:solidFill>
              <a:latin typeface="Century Gothic" panose="020B0502020202020204"/>
            </a:endParaRPr>
          </a:p>
          <a:p>
            <a:pPr marL="0" indent="0" algn="ctr">
              <a:buNone/>
            </a:pPr>
            <a:r>
              <a:rPr lang="da-DK" sz="2400" b="1" i="1">
                <a:solidFill>
                  <a:srgbClr val="0F496F"/>
                </a:solidFill>
                <a:latin typeface="Comic Sans MS"/>
              </a:rPr>
              <a:t>Afholdte</a:t>
            </a:r>
            <a:r>
              <a:rPr lang="da-DK" sz="2400" b="1" i="1">
                <a:latin typeface="Comic Sans MS"/>
              </a:rPr>
              <a:t> events 2023: 69</a:t>
            </a:r>
            <a:br>
              <a:rPr lang="da-DK" sz="4900" b="1" i="1">
                <a:latin typeface="Comic Sans MS"/>
              </a:rPr>
            </a:br>
            <a:br>
              <a:rPr lang="da-DK" sz="4900" b="1" i="1">
                <a:latin typeface="Comic Sans MS"/>
              </a:rPr>
            </a:br>
            <a:br>
              <a:rPr lang="da-DK" sz="4900" b="1" i="1">
                <a:latin typeface="Comic Sans MS"/>
              </a:rPr>
            </a:br>
            <a:r>
              <a:rPr lang="da-DK" sz="4900" b="1" i="1">
                <a:solidFill>
                  <a:schemeClr val="tx1"/>
                </a:solidFill>
                <a:latin typeface="Comic Sans MS"/>
              </a:rPr>
              <a:t>Event </a:t>
            </a:r>
            <a:r>
              <a:rPr lang="da-DK" sz="4900" b="1" i="1" err="1">
                <a:solidFill>
                  <a:schemeClr val="tx1"/>
                </a:solidFill>
                <a:latin typeface="Comic Sans MS"/>
              </a:rPr>
              <a:t>makere</a:t>
            </a:r>
            <a:r>
              <a:rPr lang="da-DK" sz="4900" b="1" i="1">
                <a:solidFill>
                  <a:schemeClr val="tx1"/>
                </a:solidFill>
                <a:latin typeface="Comic Sans MS"/>
              </a:rPr>
              <a:t> 2024: 79</a:t>
            </a:r>
            <a:endParaRPr lang="en-US">
              <a:solidFill>
                <a:schemeClr val="tx1"/>
              </a:solidFill>
              <a:latin typeface="Century Gothic" panose="020B0502020202020204"/>
            </a:endParaRPr>
          </a:p>
          <a:p>
            <a:pPr marL="0" indent="0" algn="ctr">
              <a:buNone/>
            </a:pPr>
            <a:r>
              <a:rPr lang="da-DK" b="1" i="1">
                <a:solidFill>
                  <a:schemeClr val="bg1"/>
                </a:solidFill>
                <a:latin typeface="Comic Sans MS"/>
              </a:rPr>
              <a:t>Event </a:t>
            </a:r>
            <a:r>
              <a:rPr lang="da-DK" b="1" i="1" err="1">
                <a:solidFill>
                  <a:schemeClr val="bg1"/>
                </a:solidFill>
                <a:latin typeface="Comic Sans MS"/>
              </a:rPr>
              <a:t>makere</a:t>
            </a:r>
            <a:r>
              <a:rPr lang="da-DK" b="1" i="1">
                <a:solidFill>
                  <a:schemeClr val="bg1"/>
                </a:solidFill>
                <a:latin typeface="Comic Sans MS"/>
              </a:rPr>
              <a:t> 2023: 70</a:t>
            </a:r>
          </a:p>
          <a:p>
            <a:pPr marL="0" indent="0" algn="ctr">
              <a:buNone/>
            </a:pPr>
            <a:endParaRPr lang="da-DK" sz="4900" b="1" i="1">
              <a:solidFill>
                <a:schemeClr val="tx1"/>
              </a:solidFill>
              <a:latin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41844561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60EFCE-047F-838C-AAC5-E5C14F5DFB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B5FC9D-038A-73C9-26F7-2F1CAAB4A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9</a:t>
            </a:fld>
            <a:endParaRPr lang="da-DK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88C9D2E2-6E59-671F-394D-B9645165F2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4211" y="685800"/>
            <a:ext cx="9933481" cy="4892675"/>
          </a:xfrm>
        </p:spPr>
        <p:txBody>
          <a:bodyPr>
            <a:normAutofit fontScale="25000" lnSpcReduction="20000"/>
          </a:bodyPr>
          <a:lstStyle/>
          <a:p>
            <a:pPr marL="0" indent="0" algn="ctr">
              <a:buNone/>
            </a:pPr>
            <a:endParaRPr lang="da-DK" sz="49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endParaRPr lang="da-DK" sz="43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endParaRPr lang="da-DK" sz="43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r>
              <a:rPr lang="da-DK" sz="17600" b="1" i="1">
                <a:solidFill>
                  <a:schemeClr val="tx1"/>
                </a:solidFill>
                <a:latin typeface="Comic Sans MS"/>
              </a:rPr>
              <a:t>Lokationer:</a:t>
            </a:r>
          </a:p>
          <a:p>
            <a:pPr marL="0" indent="0" algn="ctr">
              <a:buNone/>
            </a:pPr>
            <a:endParaRPr lang="da-DK" sz="17600" b="1" i="1">
              <a:solidFill>
                <a:schemeClr val="tx1"/>
              </a:solidFill>
              <a:latin typeface="Comic Sans MS"/>
            </a:endParaRP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Der er afholdt events i 26 byer men flest i:</a:t>
            </a:r>
            <a:endParaRPr lang="da-DK" sz="12800" b="1" i="1">
              <a:latin typeface="Comic Sans MS"/>
            </a:endParaRP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Herning:30</a:t>
            </a: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Vejle:14</a:t>
            </a: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Brande:11</a:t>
            </a:r>
          </a:p>
          <a:p>
            <a:pPr marL="0" indent="0" algn="ctr">
              <a:buNone/>
            </a:pPr>
            <a:r>
              <a:rPr lang="da-DK" sz="12800" b="1" i="1">
                <a:solidFill>
                  <a:schemeClr val="tx1"/>
                </a:solidFill>
                <a:latin typeface="Comic Sans MS"/>
              </a:rPr>
              <a:t>Århus:10</a:t>
            </a:r>
          </a:p>
          <a:p>
            <a:pPr marL="0" indent="0" algn="ctr">
              <a:buNone/>
            </a:pPr>
            <a:br>
              <a:rPr lang="da-DK" sz="4300" b="1" i="1">
                <a:latin typeface="Comic Sans MS"/>
              </a:rPr>
            </a:br>
            <a:br>
              <a:rPr lang="da-DK" sz="4900" b="1" i="1">
                <a:latin typeface="Comic Sans MS"/>
              </a:rPr>
            </a:br>
            <a:br>
              <a:rPr lang="da-DK" sz="4900" b="1" i="1">
                <a:latin typeface="Comic Sans MS"/>
              </a:rPr>
            </a:b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927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ARTICULATE_SLIDE_THUMBNAIL_REFRESH" val="1"/>
  <p:tag name="ARTICULATE_PROJECT_OPEN" val="0"/>
  <p:tag name="ARTICULATE_SLIDE_COUNT" val="44"/>
  <p:tag name="THINKCELLPRESENTATIONDONOTDELETE" val="&lt;?xml version=&quot;1.0&quot; encoding=&quot;UTF-16&quot; standalone=&quot;yes&quot;?&gt;&lt;root reqver=&quot;27037&quot;&gt;&lt;version val=&quot;325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f4fM9SByfOuSfaxjdj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53PC16SrCINaSYAnPvL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uCvy1HR3mUZkUOxdl9Y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6NAh_7SpFbNd7aAE.z_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4Cv781OiTAQ_woq9ZbK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wCUJ3Q1a9Yw1Z..kSd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q1sEUpnB6N.KJpTkmSD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q1sEUpnB6N.KJpTkmSD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HZfU9nM9H86RwoIUeRj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MFTNfEyUKDI_qnvex7N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pFAVQYB8eoi2out3NZ0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yXqKa9aYIWY4vz7xMUk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Squ4sUESlim1Wlwp9cv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YEpKxjo_VBazk.hEpIE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yT1Ec4BAn6Vik63UEUe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bCyAkS6AQqCa6oXe2U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17Ouk5bgn9ZoeIKqUE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MWg7YuHol9_.28JWt1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qSydj6xxZcONOjWRM_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Mwqceg5JuC72gQlRw_E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5lFK7LVylhzTbZpQI1V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8zVlMv4BayKT6LfR4O7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O3sOvWrPxMy9_K5t9S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O3sOvWrPxMy9_K5t9S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Wsjn.tSY.aXBdY5hF4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CcI7i_RfWJKGX8QRyL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RFQ1lVRMOvnxRQTU_5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XCG18Qm6rH3dW1uSH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hvTGhPRaOoJZP0s1I0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eMXxpS4677eqVBeo_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5QYhSMiM8wb1cNR6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6PTPGPSLq32bV5fcmZ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tXt.vlQC.WFCH.E8jT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GlR8KLRB6sy3LQHfZM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i.8DxSECKM1EKb_re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.XBeVCQ5SaErr5noLQ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vobzFvQq21QgKtRufF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IrjxF2TEaqIRRRp4oc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oEJkkQAanRhwXfGcA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PDXrvuTcuRSIHPbtH.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.vmZEDSWikfAdPffFz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V5Yt6zSyWXCC8ftH92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UdhWaT9Kpo5RoBd38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6hiQXNT1SyvY5JCzOw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GW8DVQTeNX_xjUH3Z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r5xpIG6T5ZqutWmNK3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K_dUvWRNuA9NFGkdHB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7u6_KSeQT61mmJh7Z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jvLjN6QQawTftKmnuv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CINkVKS5KBV0_6zvMF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o2YQAuR0SptSTRjMVhB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4iw9cNTVShMMjZXp.C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s0a5BSUWuT2iGz22XW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AJUyEuQR.CxsxEunura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G9.3vTfu36JbeAXFej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CWt2oU0WhlKRJ2HvwQ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6vmNXqjFglMECDYbq3S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AzBGOMuEcZCSVq0MIqw"/>
</p:tagLst>
</file>

<file path=ppt/theme/theme1.xml><?xml version="1.0" encoding="utf-8"?>
<a:theme xmlns:a="http://schemas.openxmlformats.org/drawingml/2006/main" name="160817_SG_Presentation_LegalNa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E6E6E6"/>
      </a:accent6>
      <a:hlink>
        <a:srgbClr val="321850"/>
      </a:hlink>
      <a:folHlink>
        <a:srgbClr val="878787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custClrLst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80%">
      <a:srgbClr val="5A4673"/>
    </a:custClr>
    <a:custClr name="Dark Gray 80%">
      <a:srgbClr val="636363"/>
    </a:custClr>
    <a:custClr name="Turquoise 80%">
      <a:srgbClr val="33C0BD"/>
    </a:custClr>
    <a:custClr name="Sunrise 80%">
      <a:srgbClr val="FBC533"/>
    </a:custClr>
    <a:custClr name="Medium Gray 80%">
      <a:srgbClr val="9F9F9F"/>
    </a:custClr>
    <a:custClr name="Soft Gray 80%">
      <a:srgbClr val="D1D1D1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60%">
      <a:srgbClr val="847496"/>
    </a:custClr>
    <a:custClr name="Dark Gray 60%">
      <a:srgbClr val="8A8A8A"/>
    </a:custClr>
    <a:custClr name="Turquoise 60%">
      <a:srgbClr val="66D0CE"/>
    </a:custClr>
    <a:custClr name="Sunrise 60%">
      <a:srgbClr val="FCD366"/>
    </a:custClr>
    <a:custClr name="Medium Gray 60%">
      <a:srgbClr val="B7B7B7"/>
    </a:custClr>
    <a:custClr name="Soft Gray 60%">
      <a:srgbClr val="DDDDD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40%">
      <a:srgbClr val="ADA3B9"/>
    </a:custClr>
    <a:custClr name="Dark Gray 40%">
      <a:srgbClr val="B1B1B1"/>
    </a:custClr>
    <a:custClr name="Turquoise 40%">
      <a:srgbClr val="99DEDF"/>
    </a:custClr>
    <a:custClr name="Sunrise 40%">
      <a:srgbClr val="FDE2A3"/>
    </a:custClr>
    <a:custClr name="Medium Gray 40%">
      <a:srgbClr val="CFCFCF"/>
    </a:custClr>
    <a:custClr name="Soft Gray 40%">
      <a:srgbClr val="E8E8E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20%">
      <a:srgbClr val="D6D1DC"/>
    </a:custClr>
    <a:custClr name="Dark Gray 20%">
      <a:srgbClr val="D8D8D8"/>
    </a:custClr>
    <a:custClr name="Turquoise 20%">
      <a:srgbClr val="CCEFEF"/>
    </a:custClr>
    <a:custClr name="Sunrise 20%">
      <a:srgbClr val="FEF0CC"/>
    </a:custClr>
    <a:custClr name="Medium Gray 20%">
      <a:srgbClr val="E7E7E7"/>
    </a:custClr>
    <a:custClr name="Soft Gray 20%">
      <a:srgbClr val="F4F4F4"/>
    </a:custClr>
  </a:custClrLst>
  <a:extLst>
    <a:ext uri="{05A4C25C-085E-4340-85A3-A5531E510DB2}">
      <thm15:themeFamily xmlns:thm15="http://schemas.microsoft.com/office/thememl/2012/main" name="160817_SG_Presentation_LegalName_v4.potx" id="{A287F18D-E658-4355-9FF6-9770FA9F2EB6}" vid="{6A43E3E4-73DB-420F-9111-E976A9BC7CB7}"/>
    </a:ext>
  </a:extLst>
</a:theme>
</file>

<file path=ppt/theme/theme2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7a09f094-dfef-497e-9e0f-bd9f04c01edb">2022</Year>
    <SharedWithUsers xmlns="bc4357c8-f86f-42d6-9392-2cb66fb1bce7">
      <UserInfo>
        <DisplayName>Hvingel, Lars Rahbek (SGRE TE NG PMO)</DisplayName>
        <AccountId>28</AccountId>
        <AccountType/>
      </UserInfo>
      <UserInfo>
        <DisplayName>Lausten, Xenia (SGRE OF PPM DD)</DisplayName>
        <AccountId>31</AccountId>
        <AccountType/>
      </UserInfo>
      <UserInfo>
        <DisplayName>Heltborg, Louise (SGRE ON NE&amp;ME PM PM-PD2)</DisplayName>
        <AccountId>62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6FB1D8A736374FA50B06C999FEE8C3" ma:contentTypeVersion="12" ma:contentTypeDescription="Create a new document." ma:contentTypeScope="" ma:versionID="cefe40253c61bfd19b4234dd6f5413da">
  <xsd:schema xmlns:xsd="http://www.w3.org/2001/XMLSchema" xmlns:xs="http://www.w3.org/2001/XMLSchema" xmlns:p="http://schemas.microsoft.com/office/2006/metadata/properties" xmlns:ns2="7a09f094-dfef-497e-9e0f-bd9f04c01edb" xmlns:ns3="bc4357c8-f86f-42d6-9392-2cb66fb1bce7" targetNamespace="http://schemas.microsoft.com/office/2006/metadata/properties" ma:root="true" ma:fieldsID="d921377e86e4a6bcb59db506a1561bb8" ns2:_="" ns3:_="">
    <xsd:import namespace="7a09f094-dfef-497e-9e0f-bd9f04c01edb"/>
    <xsd:import namespace="bc4357c8-f86f-42d6-9392-2cb66fb1bce7"/>
    <xsd:element name="properties">
      <xsd:complexType>
        <xsd:sequence>
          <xsd:element name="documentManagement">
            <xsd:complexType>
              <xsd:all>
                <xsd:element ref="ns2:Year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09f094-dfef-497e-9e0f-bd9f04c01edb" elementFormDefault="qualified">
    <xsd:import namespace="http://schemas.microsoft.com/office/2006/documentManagement/types"/>
    <xsd:import namespace="http://schemas.microsoft.com/office/infopath/2007/PartnerControls"/>
    <xsd:element name="Year" ma:index="8" nillable="true" ma:displayName="Year" ma:description="pls. enter the year the annual meeting is prepared for" ma:format="Dropdown" ma:internalName="Year">
      <xsd:simpleType>
        <xsd:restriction base="dms:Choice">
          <xsd:enumeration value="2020"/>
          <xsd:enumeration value="2019"/>
          <xsd:enumeration value="2018"/>
          <xsd:enumeration value="2017"/>
          <xsd:enumeration value="previous"/>
          <xsd:enumeration value="2021"/>
          <xsd:enumeration value="2022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4357c8-f86f-42d6-9392-2cb66fb1bce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46646C-4D58-4E7B-BED6-4A4156CBE8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158988-F4E5-431F-8342-37A38EF70E7A}">
  <ds:schemaRefs>
    <ds:schemaRef ds:uri="7a09f094-dfef-497e-9e0f-bd9f04c01edb"/>
    <ds:schemaRef ds:uri="bc4357c8-f86f-42d6-9392-2cb66fb1bce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A50C052-1D91-4239-A668-ADD26F9DB3BC}"/>
</file>

<file path=docProps/app.xml><?xml version="1.0" encoding="utf-8"?>
<Properties xmlns="http://schemas.openxmlformats.org/officeDocument/2006/extended-properties" xmlns:vt="http://schemas.openxmlformats.org/officeDocument/2006/docPropsVTypes">
  <Template>160817_SG_Presentation_LegalName</Template>
  <Application>Microsoft Office PowerPoint</Application>
  <PresentationFormat>Widescreen</PresentationFormat>
  <Slides>22</Slides>
  <Notes>15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160817_SG_Presentation_LegalName</vt:lpstr>
      <vt:lpstr>Slice</vt:lpstr>
      <vt:lpstr>Generalforsamling 2025</vt:lpstr>
      <vt:lpstr>Agenda:</vt:lpstr>
      <vt:lpstr>Agenda:</vt:lpstr>
      <vt:lpstr>Valg af dirigent og valg af stemmetællere</vt:lpstr>
      <vt:lpstr>PowerPoint Presentation</vt:lpstr>
      <vt:lpstr>Agenda:</vt:lpstr>
      <vt:lpstr>EVENTS 2024</vt:lpstr>
      <vt:lpstr>PowerPoint Presentation</vt:lpstr>
      <vt:lpstr>PowerPoint Presentation</vt:lpstr>
      <vt:lpstr>PowerPoint Presentation</vt:lpstr>
      <vt:lpstr>PowerPoint Presentation</vt:lpstr>
      <vt:lpstr>Jonas B. Kramer</vt:lpstr>
      <vt:lpstr>Agenda:</vt:lpstr>
      <vt:lpstr>Regnskab &amp; Budget</vt:lpstr>
      <vt:lpstr>Regnskab &amp; Budget</vt:lpstr>
      <vt:lpstr>Regnskab &amp; Budget</vt:lpstr>
      <vt:lpstr>Valg af bestyrelsesmedlemmer​:</vt:lpstr>
      <vt:lpstr>Valg af bestyrelsesmedlemmer​</vt:lpstr>
      <vt:lpstr>Agenda:</vt:lpstr>
      <vt:lpstr>Valg af revisor 2025</vt:lpstr>
      <vt:lpstr>Resultat af valg</vt:lpstr>
      <vt:lpstr>  </vt:lpstr>
    </vt:vector>
  </TitlesOfParts>
  <Company>Siemens Gamesa Renewable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Gamesa Renewable Energy</dc:title>
  <dc:creator>Schadwinkel, Tabea (SGRE OF CF S&amp;PR CSE TTS)</dc:creator>
  <cp:revision>1</cp:revision>
  <cp:lastPrinted>2022-02-23T08:40:59Z</cp:lastPrinted>
  <dcterms:created xsi:type="dcterms:W3CDTF">2017-09-08T14:42:31Z</dcterms:created>
  <dcterms:modified xsi:type="dcterms:W3CDTF">2025-02-20T19:3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D395587-81CA-45E9-9C79-FEC8D24D0516</vt:lpwstr>
  </property>
  <property fmtid="{D5CDD505-2E9C-101B-9397-08002B2CF9AE}" pid="3" name="ArticulatePath">
    <vt:lpwstr>Präsentation1</vt:lpwstr>
  </property>
  <property fmtid="{D5CDD505-2E9C-101B-9397-08002B2CF9AE}" pid="4" name="_AdHocReviewCycleID">
    <vt:i4>642383614</vt:i4>
  </property>
  <property fmtid="{D5CDD505-2E9C-101B-9397-08002B2CF9AE}" pid="5" name="_NewReviewCycle">
    <vt:lpwstr/>
  </property>
  <property fmtid="{D5CDD505-2E9C-101B-9397-08002B2CF9AE}" pid="6" name="_EmailSubject">
    <vt:lpwstr>PPT master</vt:lpwstr>
  </property>
  <property fmtid="{D5CDD505-2E9C-101B-9397-08002B2CF9AE}" pid="7" name="_AuthorEmail">
    <vt:lpwstr>sanne.petersen@siemens.com</vt:lpwstr>
  </property>
  <property fmtid="{D5CDD505-2E9C-101B-9397-08002B2CF9AE}" pid="8" name="_AuthorEmailDisplayName">
    <vt:lpwstr>Petersen, Sanne Frimor (WP CC IC)</vt:lpwstr>
  </property>
  <property fmtid="{D5CDD505-2E9C-101B-9397-08002B2CF9AE}" pid="9" name="_PreviousAdHocReviewCycleID">
    <vt:i4>-847589312</vt:i4>
  </property>
  <property fmtid="{D5CDD505-2E9C-101B-9397-08002B2CF9AE}" pid="10" name="ContentTypeId">
    <vt:lpwstr>0x010100E26FB1D8A736374FA50B06C999FEE8C3</vt:lpwstr>
  </property>
  <property fmtid="{D5CDD505-2E9C-101B-9397-08002B2CF9AE}" pid="11" name="MSIP_Label_6013f521-439d-4e48-8e98-41ab6c596aa7_Enabled">
    <vt:lpwstr>true</vt:lpwstr>
  </property>
  <property fmtid="{D5CDD505-2E9C-101B-9397-08002B2CF9AE}" pid="12" name="MSIP_Label_6013f521-439d-4e48-8e98-41ab6c596aa7_SetDate">
    <vt:lpwstr>2021-02-17T15:00:17Z</vt:lpwstr>
  </property>
  <property fmtid="{D5CDD505-2E9C-101B-9397-08002B2CF9AE}" pid="13" name="MSIP_Label_6013f521-439d-4e48-8e98-41ab6c596aa7_Method">
    <vt:lpwstr>Standard</vt:lpwstr>
  </property>
  <property fmtid="{D5CDD505-2E9C-101B-9397-08002B2CF9AE}" pid="14" name="MSIP_Label_6013f521-439d-4e48-8e98-41ab6c596aa7_Name">
    <vt:lpwstr>6013f521-439d-4e48-8e98-41ab6c596aa7</vt:lpwstr>
  </property>
  <property fmtid="{D5CDD505-2E9C-101B-9397-08002B2CF9AE}" pid="15" name="MSIP_Label_6013f521-439d-4e48-8e98-41ab6c596aa7_SiteId">
    <vt:lpwstr>12f921d8-f30d-4596-a652-7045b338485a</vt:lpwstr>
  </property>
  <property fmtid="{D5CDD505-2E9C-101B-9397-08002B2CF9AE}" pid="16" name="MSIP_Label_6013f521-439d-4e48-8e98-41ab6c596aa7_ActionId">
    <vt:lpwstr/>
  </property>
  <property fmtid="{D5CDD505-2E9C-101B-9397-08002B2CF9AE}" pid="17" name="MSIP_Label_6013f521-439d-4e48-8e98-41ab6c596aa7_ContentBits">
    <vt:lpwstr>0</vt:lpwstr>
  </property>
</Properties>
</file>